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5.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6.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1"/>
    <p:sldMasterId id="2147483737" r:id="rId2"/>
    <p:sldMasterId id="2147483818" r:id="rId3"/>
    <p:sldMasterId id="2147483904" r:id="rId4"/>
    <p:sldMasterId id="2147483986" r:id="rId5"/>
    <p:sldMasterId id="2147484068" r:id="rId6"/>
    <p:sldMasterId id="2147484188" r:id="rId7"/>
  </p:sldMasterIdLst>
  <p:notesMasterIdLst>
    <p:notesMasterId r:id="rId52"/>
  </p:notesMasterIdLst>
  <p:sldIdLst>
    <p:sldId id="261" r:id="rId8"/>
    <p:sldId id="2147483527" r:id="rId9"/>
    <p:sldId id="2147483519" r:id="rId10"/>
    <p:sldId id="2147483512" r:id="rId11"/>
    <p:sldId id="2147481137" r:id="rId12"/>
    <p:sldId id="2147483474" r:id="rId13"/>
    <p:sldId id="2147483488" r:id="rId14"/>
    <p:sldId id="2147483490" r:id="rId15"/>
    <p:sldId id="2147483489" r:id="rId16"/>
    <p:sldId id="2147483510" r:id="rId17"/>
    <p:sldId id="2147483528" r:id="rId18"/>
    <p:sldId id="2147483529" r:id="rId19"/>
    <p:sldId id="2147483498" r:id="rId20"/>
    <p:sldId id="2147481138" r:id="rId21"/>
    <p:sldId id="2147483500" r:id="rId22"/>
    <p:sldId id="2147483508" r:id="rId23"/>
    <p:sldId id="2147483520" r:id="rId24"/>
    <p:sldId id="2147483492" r:id="rId25"/>
    <p:sldId id="2147483472" r:id="rId26"/>
    <p:sldId id="2147483521" r:id="rId27"/>
    <p:sldId id="2147483505" r:id="rId28"/>
    <p:sldId id="2147483479" r:id="rId29"/>
    <p:sldId id="2147483482" r:id="rId30"/>
    <p:sldId id="2147483522" r:id="rId31"/>
    <p:sldId id="2147483481" r:id="rId32"/>
    <p:sldId id="2147483483" r:id="rId33"/>
    <p:sldId id="2147483484" r:id="rId34"/>
    <p:sldId id="2147483493" r:id="rId35"/>
    <p:sldId id="2147483494" r:id="rId36"/>
    <p:sldId id="2147483502" r:id="rId37"/>
    <p:sldId id="2147483495" r:id="rId38"/>
    <p:sldId id="2147483523" r:id="rId39"/>
    <p:sldId id="2147483499" r:id="rId40"/>
    <p:sldId id="2147483496" r:id="rId41"/>
    <p:sldId id="2147483525" r:id="rId42"/>
    <p:sldId id="2147483497" r:id="rId43"/>
    <p:sldId id="2147483526" r:id="rId44"/>
    <p:sldId id="2147483524" r:id="rId45"/>
    <p:sldId id="2147483513" r:id="rId46"/>
    <p:sldId id="2147481140" r:id="rId47"/>
    <p:sldId id="2147481143" r:id="rId48"/>
    <p:sldId id="2147483515" r:id="rId49"/>
    <p:sldId id="2147481145" r:id="rId50"/>
    <p:sldId id="2147481146"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89B816-2AB1-45BD-B869-4B86E8AEE72E}">
          <p14:sldIdLst>
            <p14:sldId id="261"/>
            <p14:sldId id="2147483527"/>
            <p14:sldId id="2147483519"/>
            <p14:sldId id="2147483512"/>
          </p14:sldIdLst>
        </p14:section>
        <p14:section name="HR Provisioning" id="{9EF07671-4E6D-41E5-B4FD-F95A022D0018}">
          <p14:sldIdLst>
            <p14:sldId id="2147481137"/>
            <p14:sldId id="2147483474"/>
            <p14:sldId id="2147483488"/>
            <p14:sldId id="2147483490"/>
            <p14:sldId id="2147483489"/>
            <p14:sldId id="2147483510"/>
            <p14:sldId id="2147483528"/>
            <p14:sldId id="2147483529"/>
            <p14:sldId id="2147483498"/>
          </p14:sldIdLst>
        </p14:section>
        <p14:section name="App Provisioning" id="{2E90CDC2-220C-4575-8BB5-88880839D445}">
          <p14:sldIdLst>
            <p14:sldId id="2147481138"/>
            <p14:sldId id="2147483500"/>
            <p14:sldId id="2147483508"/>
            <p14:sldId id="2147483520"/>
            <p14:sldId id="2147483492"/>
            <p14:sldId id="2147483472"/>
            <p14:sldId id="2147483521"/>
            <p14:sldId id="2147483505"/>
            <p14:sldId id="2147483479"/>
            <p14:sldId id="2147483482"/>
            <p14:sldId id="2147483522"/>
            <p14:sldId id="2147483481"/>
            <p14:sldId id="2147483483"/>
            <p14:sldId id="2147483484"/>
            <p14:sldId id="2147483493"/>
            <p14:sldId id="2147483494"/>
            <p14:sldId id="2147483502"/>
            <p14:sldId id="2147483495"/>
            <p14:sldId id="2147483523"/>
            <p14:sldId id="2147483499"/>
            <p14:sldId id="2147483496"/>
            <p14:sldId id="2147483525"/>
            <p14:sldId id="2147483497"/>
            <p14:sldId id="2147483526"/>
            <p14:sldId id="2147483524"/>
            <p14:sldId id="2147483513"/>
          </p14:sldIdLst>
        </p14:section>
        <p14:section name="SAP Integration" id="{4D803D77-476D-4C46-A74A-6BC679103D31}">
          <p14:sldIdLst/>
        </p14:section>
        <p14:section name="Reference Arch" id="{7854DC5C-138B-4890-AE34-7A0C5F01BD44}">
          <p14:sldIdLst>
            <p14:sldId id="2147481140"/>
            <p14:sldId id="2147481143"/>
            <p14:sldId id="2147483515"/>
            <p14:sldId id="2147481145"/>
            <p14:sldId id="214748114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ABE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96" autoAdjust="0"/>
    <p:restoredTop sz="94660"/>
  </p:normalViewPr>
  <p:slideViewPr>
    <p:cSldViewPr snapToGrid="0">
      <p:cViewPr varScale="1">
        <p:scale>
          <a:sx n="98" d="100"/>
          <a:sy n="98" d="100"/>
        </p:scale>
        <p:origin x="115" y="29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8/10/relationships/authors" Targe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3BD36F-EE75-490A-8A80-B8DA2CFF497B}" type="doc">
      <dgm:prSet loTypeId="urn:microsoft.com/office/officeart/2005/8/layout/process1" loCatId="process" qsTypeId="urn:microsoft.com/office/officeart/2005/8/quickstyle/simple1" qsCatId="simple" csTypeId="urn:microsoft.com/office/officeart/2005/8/colors/accent1_2" csCatId="accent1" phldr="1"/>
      <dgm:spPr/>
    </dgm:pt>
    <dgm:pt modelId="{98E858E7-5F36-4724-94A3-49E43CEC31C8}">
      <dgm:prSet phldrT="[Text]"/>
      <dgm:spPr/>
      <dgm:t>
        <a:bodyPr/>
        <a:lstStyle/>
        <a:p>
          <a:r>
            <a:rPr lang="en-US"/>
            <a:t>Entra ID is the new Identity Store</a:t>
          </a:r>
        </a:p>
      </dgm:t>
    </dgm:pt>
    <dgm:pt modelId="{8A7BD970-0455-4339-A25E-2E3CFF342600}" type="parTrans" cxnId="{FB4C5F38-9DEE-437E-845F-D7ED1A3FFB2E}">
      <dgm:prSet/>
      <dgm:spPr/>
      <dgm:t>
        <a:bodyPr/>
        <a:lstStyle/>
        <a:p>
          <a:endParaRPr lang="en-US"/>
        </a:p>
      </dgm:t>
    </dgm:pt>
    <dgm:pt modelId="{20EFE1B9-E756-4D04-83EA-265A8A335039}" type="sibTrans" cxnId="{FB4C5F38-9DEE-437E-845F-D7ED1A3FFB2E}">
      <dgm:prSet/>
      <dgm:spPr/>
      <dgm:t>
        <a:bodyPr/>
        <a:lstStyle/>
        <a:p>
          <a:endParaRPr lang="en-US"/>
        </a:p>
      </dgm:t>
    </dgm:pt>
    <dgm:pt modelId="{1B6EB583-33B3-4A5C-853E-3C491455F862}">
      <dgm:prSet phldrT="[Text]"/>
      <dgm:spPr/>
      <dgm:t>
        <a:bodyPr/>
        <a:lstStyle/>
        <a:p>
          <a:r>
            <a:rPr lang="en-US"/>
            <a:t>User Management goes to Entra ID or AD DS</a:t>
          </a:r>
        </a:p>
      </dgm:t>
    </dgm:pt>
    <dgm:pt modelId="{3EF44898-BFE1-464B-A469-A56D48D1DB80}" type="parTrans" cxnId="{0B20F72F-FE48-430B-9499-39A5767E003E}">
      <dgm:prSet/>
      <dgm:spPr/>
      <dgm:t>
        <a:bodyPr/>
        <a:lstStyle/>
        <a:p>
          <a:endParaRPr lang="en-US"/>
        </a:p>
      </dgm:t>
    </dgm:pt>
    <dgm:pt modelId="{855857CC-AFB8-498F-8FE6-186EE65093B3}" type="sibTrans" cxnId="{0B20F72F-FE48-430B-9499-39A5767E003E}">
      <dgm:prSet/>
      <dgm:spPr/>
      <dgm:t>
        <a:bodyPr/>
        <a:lstStyle/>
        <a:p>
          <a:endParaRPr lang="en-US"/>
        </a:p>
      </dgm:t>
    </dgm:pt>
    <dgm:pt modelId="{B66592B0-7692-45DE-A5DB-30ADE8EE9409}">
      <dgm:prSet phldrT="[Text]"/>
      <dgm:spPr/>
      <dgm:t>
        <a:bodyPr/>
        <a:lstStyle/>
        <a:p>
          <a:r>
            <a:rPr lang="en-US"/>
            <a:t>Connect HR sources to Microsoft Entra</a:t>
          </a:r>
        </a:p>
      </dgm:t>
    </dgm:pt>
    <dgm:pt modelId="{5F96E0A2-BDE0-4328-B6C1-6FD5657A0DB7}" type="parTrans" cxnId="{AA0EF3B5-0AE8-43B6-AF99-19408F7D896A}">
      <dgm:prSet/>
      <dgm:spPr/>
      <dgm:t>
        <a:bodyPr/>
        <a:lstStyle/>
        <a:p>
          <a:endParaRPr lang="en-US"/>
        </a:p>
      </dgm:t>
    </dgm:pt>
    <dgm:pt modelId="{C5E425C6-747B-4EF3-A35B-285E2A2DD8A7}" type="sibTrans" cxnId="{AA0EF3B5-0AE8-43B6-AF99-19408F7D896A}">
      <dgm:prSet/>
      <dgm:spPr/>
      <dgm:t>
        <a:bodyPr/>
        <a:lstStyle/>
        <a:p>
          <a:endParaRPr lang="en-US"/>
        </a:p>
      </dgm:t>
    </dgm:pt>
    <dgm:pt modelId="{F0D226DC-DCC1-492B-BACA-86492CA8B51A}">
      <dgm:prSet phldrT="[Text]"/>
      <dgm:spPr/>
      <dgm:t>
        <a:bodyPr/>
        <a:lstStyle/>
        <a:p>
          <a:r>
            <a:rPr lang="en-US"/>
            <a:t>Migrate End User Self-Service to Microsoft Entra</a:t>
          </a:r>
        </a:p>
      </dgm:t>
    </dgm:pt>
    <dgm:pt modelId="{1E5901E3-F50E-4F7D-B76E-6AA9D9C8CC9A}" type="parTrans" cxnId="{BF0AC082-B2EA-4415-8AA2-D54859865E30}">
      <dgm:prSet/>
      <dgm:spPr/>
      <dgm:t>
        <a:bodyPr/>
        <a:lstStyle/>
        <a:p>
          <a:endParaRPr lang="en-US"/>
        </a:p>
      </dgm:t>
    </dgm:pt>
    <dgm:pt modelId="{D97369B9-CAC5-4940-AA81-980B9AA34A76}" type="sibTrans" cxnId="{BF0AC082-B2EA-4415-8AA2-D54859865E30}">
      <dgm:prSet/>
      <dgm:spPr/>
      <dgm:t>
        <a:bodyPr/>
        <a:lstStyle/>
        <a:p>
          <a:endParaRPr lang="en-US"/>
        </a:p>
      </dgm:t>
    </dgm:pt>
    <dgm:pt modelId="{B5EFB628-9D92-40A4-A02D-E79FEB9397F3}">
      <dgm:prSet phldrT="[Text]"/>
      <dgm:spPr/>
      <dgm:t>
        <a:bodyPr/>
        <a:lstStyle/>
        <a:p>
          <a:r>
            <a:rPr lang="en-US"/>
            <a:t>Configure SSO and provision identities for Apps</a:t>
          </a:r>
        </a:p>
      </dgm:t>
    </dgm:pt>
    <dgm:pt modelId="{3D405EE7-8670-4CC1-BA4E-A36273577D60}" type="parTrans" cxnId="{6C16D227-557C-4BF3-A32C-F1681EE0C52D}">
      <dgm:prSet/>
      <dgm:spPr/>
      <dgm:t>
        <a:bodyPr/>
        <a:lstStyle/>
        <a:p>
          <a:endParaRPr lang="en-US"/>
        </a:p>
      </dgm:t>
    </dgm:pt>
    <dgm:pt modelId="{3847E682-EAA5-4B3B-8BA2-5E5BC98EDBF7}" type="sibTrans" cxnId="{6C16D227-557C-4BF3-A32C-F1681EE0C52D}">
      <dgm:prSet/>
      <dgm:spPr/>
      <dgm:t>
        <a:bodyPr/>
        <a:lstStyle/>
        <a:p>
          <a:endParaRPr lang="en-US"/>
        </a:p>
      </dgm:t>
    </dgm:pt>
    <dgm:pt modelId="{A9595F91-66E5-4770-A8C6-610B390981E8}" type="pres">
      <dgm:prSet presAssocID="{CD3BD36F-EE75-490A-8A80-B8DA2CFF497B}" presName="Name0" presStyleCnt="0">
        <dgm:presLayoutVars>
          <dgm:dir/>
          <dgm:resizeHandles val="exact"/>
        </dgm:presLayoutVars>
      </dgm:prSet>
      <dgm:spPr/>
    </dgm:pt>
    <dgm:pt modelId="{DC7E95E7-63EB-481C-978F-63DFC4FD6CBE}" type="pres">
      <dgm:prSet presAssocID="{98E858E7-5F36-4724-94A3-49E43CEC31C8}" presName="node" presStyleLbl="node1" presStyleIdx="0" presStyleCnt="5">
        <dgm:presLayoutVars>
          <dgm:bulletEnabled val="1"/>
        </dgm:presLayoutVars>
      </dgm:prSet>
      <dgm:spPr/>
    </dgm:pt>
    <dgm:pt modelId="{3B4C6131-076D-45F1-88F4-02356ED824C9}" type="pres">
      <dgm:prSet presAssocID="{20EFE1B9-E756-4D04-83EA-265A8A335039}" presName="sibTrans" presStyleLbl="sibTrans2D1" presStyleIdx="0" presStyleCnt="4"/>
      <dgm:spPr/>
    </dgm:pt>
    <dgm:pt modelId="{4092273A-33D3-4855-A272-1A6B6018C449}" type="pres">
      <dgm:prSet presAssocID="{20EFE1B9-E756-4D04-83EA-265A8A335039}" presName="connectorText" presStyleLbl="sibTrans2D1" presStyleIdx="0" presStyleCnt="4"/>
      <dgm:spPr/>
    </dgm:pt>
    <dgm:pt modelId="{47FC5327-4896-4D12-9751-B5EACBE9A0C6}" type="pres">
      <dgm:prSet presAssocID="{1B6EB583-33B3-4A5C-853E-3C491455F862}" presName="node" presStyleLbl="node1" presStyleIdx="1" presStyleCnt="5">
        <dgm:presLayoutVars>
          <dgm:bulletEnabled val="1"/>
        </dgm:presLayoutVars>
      </dgm:prSet>
      <dgm:spPr/>
    </dgm:pt>
    <dgm:pt modelId="{5C56AFEB-E0BD-4497-A27F-43F0B80C5546}" type="pres">
      <dgm:prSet presAssocID="{855857CC-AFB8-498F-8FE6-186EE65093B3}" presName="sibTrans" presStyleLbl="sibTrans2D1" presStyleIdx="1" presStyleCnt="4"/>
      <dgm:spPr/>
    </dgm:pt>
    <dgm:pt modelId="{5AEA8025-6396-4224-809F-C4938E3F47C9}" type="pres">
      <dgm:prSet presAssocID="{855857CC-AFB8-498F-8FE6-186EE65093B3}" presName="connectorText" presStyleLbl="sibTrans2D1" presStyleIdx="1" presStyleCnt="4"/>
      <dgm:spPr/>
    </dgm:pt>
    <dgm:pt modelId="{19CD5919-DB07-4534-A448-546C21079016}" type="pres">
      <dgm:prSet presAssocID="{B66592B0-7692-45DE-A5DB-30ADE8EE9409}" presName="node" presStyleLbl="node1" presStyleIdx="2" presStyleCnt="5">
        <dgm:presLayoutVars>
          <dgm:bulletEnabled val="1"/>
        </dgm:presLayoutVars>
      </dgm:prSet>
      <dgm:spPr/>
    </dgm:pt>
    <dgm:pt modelId="{0A1DB0F6-2F24-4BB5-B8AC-9F9184C798A6}" type="pres">
      <dgm:prSet presAssocID="{C5E425C6-747B-4EF3-A35B-285E2A2DD8A7}" presName="sibTrans" presStyleLbl="sibTrans2D1" presStyleIdx="2" presStyleCnt="4"/>
      <dgm:spPr/>
    </dgm:pt>
    <dgm:pt modelId="{92C20A58-0694-4B5E-8E76-2C24A91E0630}" type="pres">
      <dgm:prSet presAssocID="{C5E425C6-747B-4EF3-A35B-285E2A2DD8A7}" presName="connectorText" presStyleLbl="sibTrans2D1" presStyleIdx="2" presStyleCnt="4"/>
      <dgm:spPr/>
    </dgm:pt>
    <dgm:pt modelId="{3E55DD66-4056-477D-A1B7-A975AD21EB77}" type="pres">
      <dgm:prSet presAssocID="{B5EFB628-9D92-40A4-A02D-E79FEB9397F3}" presName="node" presStyleLbl="node1" presStyleIdx="3" presStyleCnt="5">
        <dgm:presLayoutVars>
          <dgm:bulletEnabled val="1"/>
        </dgm:presLayoutVars>
      </dgm:prSet>
      <dgm:spPr/>
    </dgm:pt>
    <dgm:pt modelId="{5483DB0A-FEDD-4E55-9772-82300006D595}" type="pres">
      <dgm:prSet presAssocID="{3847E682-EAA5-4B3B-8BA2-5E5BC98EDBF7}" presName="sibTrans" presStyleLbl="sibTrans2D1" presStyleIdx="3" presStyleCnt="4"/>
      <dgm:spPr/>
    </dgm:pt>
    <dgm:pt modelId="{A0089CC6-B61C-47CD-811C-AAE56B70960B}" type="pres">
      <dgm:prSet presAssocID="{3847E682-EAA5-4B3B-8BA2-5E5BC98EDBF7}" presName="connectorText" presStyleLbl="sibTrans2D1" presStyleIdx="3" presStyleCnt="4"/>
      <dgm:spPr/>
    </dgm:pt>
    <dgm:pt modelId="{64317E09-F7B0-44E5-887A-A6199548AA1C}" type="pres">
      <dgm:prSet presAssocID="{F0D226DC-DCC1-492B-BACA-86492CA8B51A}" presName="node" presStyleLbl="node1" presStyleIdx="4" presStyleCnt="5">
        <dgm:presLayoutVars>
          <dgm:bulletEnabled val="1"/>
        </dgm:presLayoutVars>
      </dgm:prSet>
      <dgm:spPr/>
    </dgm:pt>
  </dgm:ptLst>
  <dgm:cxnLst>
    <dgm:cxn modelId="{F8F24308-1174-4A58-9ACB-39C465994659}" type="presOf" srcId="{20EFE1B9-E756-4D04-83EA-265A8A335039}" destId="{3B4C6131-076D-45F1-88F4-02356ED824C9}" srcOrd="0" destOrd="0" presId="urn:microsoft.com/office/officeart/2005/8/layout/process1"/>
    <dgm:cxn modelId="{6C16D227-557C-4BF3-A32C-F1681EE0C52D}" srcId="{CD3BD36F-EE75-490A-8A80-B8DA2CFF497B}" destId="{B5EFB628-9D92-40A4-A02D-E79FEB9397F3}" srcOrd="3" destOrd="0" parTransId="{3D405EE7-8670-4CC1-BA4E-A36273577D60}" sibTransId="{3847E682-EAA5-4B3B-8BA2-5E5BC98EDBF7}"/>
    <dgm:cxn modelId="{A9FC9B2D-D4AD-482E-8EF1-C565516EADB4}" type="presOf" srcId="{855857CC-AFB8-498F-8FE6-186EE65093B3}" destId="{5AEA8025-6396-4224-809F-C4938E3F47C9}" srcOrd="1" destOrd="0" presId="urn:microsoft.com/office/officeart/2005/8/layout/process1"/>
    <dgm:cxn modelId="{0B20F72F-FE48-430B-9499-39A5767E003E}" srcId="{CD3BD36F-EE75-490A-8A80-B8DA2CFF497B}" destId="{1B6EB583-33B3-4A5C-853E-3C491455F862}" srcOrd="1" destOrd="0" parTransId="{3EF44898-BFE1-464B-A469-A56D48D1DB80}" sibTransId="{855857CC-AFB8-498F-8FE6-186EE65093B3}"/>
    <dgm:cxn modelId="{FB4C5F38-9DEE-437E-845F-D7ED1A3FFB2E}" srcId="{CD3BD36F-EE75-490A-8A80-B8DA2CFF497B}" destId="{98E858E7-5F36-4724-94A3-49E43CEC31C8}" srcOrd="0" destOrd="0" parTransId="{8A7BD970-0455-4339-A25E-2E3CFF342600}" sibTransId="{20EFE1B9-E756-4D04-83EA-265A8A335039}"/>
    <dgm:cxn modelId="{77B6143E-1242-4081-A89E-B88FC6AD15D0}" type="presOf" srcId="{3847E682-EAA5-4B3B-8BA2-5E5BC98EDBF7}" destId="{A0089CC6-B61C-47CD-811C-AAE56B70960B}" srcOrd="1" destOrd="0" presId="urn:microsoft.com/office/officeart/2005/8/layout/process1"/>
    <dgm:cxn modelId="{906CAD4B-8853-47F4-8D8B-BB9AD7672B1A}" type="presOf" srcId="{3847E682-EAA5-4B3B-8BA2-5E5BC98EDBF7}" destId="{5483DB0A-FEDD-4E55-9772-82300006D595}" srcOrd="0" destOrd="0" presId="urn:microsoft.com/office/officeart/2005/8/layout/process1"/>
    <dgm:cxn modelId="{3A80AC6E-59D9-444A-A034-EC668706F55B}" type="presOf" srcId="{C5E425C6-747B-4EF3-A35B-285E2A2DD8A7}" destId="{0A1DB0F6-2F24-4BB5-B8AC-9F9184C798A6}" srcOrd="0" destOrd="0" presId="urn:microsoft.com/office/officeart/2005/8/layout/process1"/>
    <dgm:cxn modelId="{A890AB59-61B6-454C-988B-CBBDDA7D8E9E}" type="presOf" srcId="{1B6EB583-33B3-4A5C-853E-3C491455F862}" destId="{47FC5327-4896-4D12-9751-B5EACBE9A0C6}" srcOrd="0" destOrd="0" presId="urn:microsoft.com/office/officeart/2005/8/layout/process1"/>
    <dgm:cxn modelId="{BF0AC082-B2EA-4415-8AA2-D54859865E30}" srcId="{CD3BD36F-EE75-490A-8A80-B8DA2CFF497B}" destId="{F0D226DC-DCC1-492B-BACA-86492CA8B51A}" srcOrd="4" destOrd="0" parTransId="{1E5901E3-F50E-4F7D-B76E-6AA9D9C8CC9A}" sibTransId="{D97369B9-CAC5-4940-AA81-980B9AA34A76}"/>
    <dgm:cxn modelId="{6ABC418D-B377-4CD4-9B3F-5130BB1D9113}" type="presOf" srcId="{CD3BD36F-EE75-490A-8A80-B8DA2CFF497B}" destId="{A9595F91-66E5-4770-A8C6-610B390981E8}" srcOrd="0" destOrd="0" presId="urn:microsoft.com/office/officeart/2005/8/layout/process1"/>
    <dgm:cxn modelId="{0FBC568F-2377-4800-AF82-D80142D6EFDB}" type="presOf" srcId="{C5E425C6-747B-4EF3-A35B-285E2A2DD8A7}" destId="{92C20A58-0694-4B5E-8E76-2C24A91E0630}" srcOrd="1" destOrd="0" presId="urn:microsoft.com/office/officeart/2005/8/layout/process1"/>
    <dgm:cxn modelId="{AA0EF3B5-0AE8-43B6-AF99-19408F7D896A}" srcId="{CD3BD36F-EE75-490A-8A80-B8DA2CFF497B}" destId="{B66592B0-7692-45DE-A5DB-30ADE8EE9409}" srcOrd="2" destOrd="0" parTransId="{5F96E0A2-BDE0-4328-B6C1-6FD5657A0DB7}" sibTransId="{C5E425C6-747B-4EF3-A35B-285E2A2DD8A7}"/>
    <dgm:cxn modelId="{19519EB6-CD5E-4C62-B111-D478C5E04F2C}" type="presOf" srcId="{855857CC-AFB8-498F-8FE6-186EE65093B3}" destId="{5C56AFEB-E0BD-4497-A27F-43F0B80C5546}" srcOrd="0" destOrd="0" presId="urn:microsoft.com/office/officeart/2005/8/layout/process1"/>
    <dgm:cxn modelId="{5A991CB8-4690-419D-A319-923C0BD5E310}" type="presOf" srcId="{F0D226DC-DCC1-492B-BACA-86492CA8B51A}" destId="{64317E09-F7B0-44E5-887A-A6199548AA1C}" srcOrd="0" destOrd="0" presId="urn:microsoft.com/office/officeart/2005/8/layout/process1"/>
    <dgm:cxn modelId="{777004B9-6055-4934-A828-295D83BA4F78}" type="presOf" srcId="{98E858E7-5F36-4724-94A3-49E43CEC31C8}" destId="{DC7E95E7-63EB-481C-978F-63DFC4FD6CBE}" srcOrd="0" destOrd="0" presId="urn:microsoft.com/office/officeart/2005/8/layout/process1"/>
    <dgm:cxn modelId="{C928B3D4-D370-4732-9D8D-3B32AA8499F6}" type="presOf" srcId="{20EFE1B9-E756-4D04-83EA-265A8A335039}" destId="{4092273A-33D3-4855-A272-1A6B6018C449}" srcOrd="1" destOrd="0" presId="urn:microsoft.com/office/officeart/2005/8/layout/process1"/>
    <dgm:cxn modelId="{A84A8FD5-1723-4E4C-9DD9-489A59536F33}" type="presOf" srcId="{B66592B0-7692-45DE-A5DB-30ADE8EE9409}" destId="{19CD5919-DB07-4534-A448-546C21079016}" srcOrd="0" destOrd="0" presId="urn:microsoft.com/office/officeart/2005/8/layout/process1"/>
    <dgm:cxn modelId="{CC5F96E3-0EA0-4FE9-B4A0-0BE6CAEAF502}" type="presOf" srcId="{B5EFB628-9D92-40A4-A02D-E79FEB9397F3}" destId="{3E55DD66-4056-477D-A1B7-A975AD21EB77}" srcOrd="0" destOrd="0" presId="urn:microsoft.com/office/officeart/2005/8/layout/process1"/>
    <dgm:cxn modelId="{4E372916-2803-466D-865E-CA9EE143BBA4}" type="presParOf" srcId="{A9595F91-66E5-4770-A8C6-610B390981E8}" destId="{DC7E95E7-63EB-481C-978F-63DFC4FD6CBE}" srcOrd="0" destOrd="0" presId="urn:microsoft.com/office/officeart/2005/8/layout/process1"/>
    <dgm:cxn modelId="{1277FEC5-7DC6-4A91-A8BB-950D4D35E320}" type="presParOf" srcId="{A9595F91-66E5-4770-A8C6-610B390981E8}" destId="{3B4C6131-076D-45F1-88F4-02356ED824C9}" srcOrd="1" destOrd="0" presId="urn:microsoft.com/office/officeart/2005/8/layout/process1"/>
    <dgm:cxn modelId="{706F215E-87CB-43DD-9498-AA469588F3A6}" type="presParOf" srcId="{3B4C6131-076D-45F1-88F4-02356ED824C9}" destId="{4092273A-33D3-4855-A272-1A6B6018C449}" srcOrd="0" destOrd="0" presId="urn:microsoft.com/office/officeart/2005/8/layout/process1"/>
    <dgm:cxn modelId="{AEF9E8BC-53BB-43E8-916A-9A3AEB85FCF2}" type="presParOf" srcId="{A9595F91-66E5-4770-A8C6-610B390981E8}" destId="{47FC5327-4896-4D12-9751-B5EACBE9A0C6}" srcOrd="2" destOrd="0" presId="urn:microsoft.com/office/officeart/2005/8/layout/process1"/>
    <dgm:cxn modelId="{BB8025DD-E108-461B-A092-60C8CDBFB95D}" type="presParOf" srcId="{A9595F91-66E5-4770-A8C6-610B390981E8}" destId="{5C56AFEB-E0BD-4497-A27F-43F0B80C5546}" srcOrd="3" destOrd="0" presId="urn:microsoft.com/office/officeart/2005/8/layout/process1"/>
    <dgm:cxn modelId="{19CA6EFF-7484-4233-9ECB-671825DFE930}" type="presParOf" srcId="{5C56AFEB-E0BD-4497-A27F-43F0B80C5546}" destId="{5AEA8025-6396-4224-809F-C4938E3F47C9}" srcOrd="0" destOrd="0" presId="urn:microsoft.com/office/officeart/2005/8/layout/process1"/>
    <dgm:cxn modelId="{61947539-D92C-43DF-AF52-894AA6430CCE}" type="presParOf" srcId="{A9595F91-66E5-4770-A8C6-610B390981E8}" destId="{19CD5919-DB07-4534-A448-546C21079016}" srcOrd="4" destOrd="0" presId="urn:microsoft.com/office/officeart/2005/8/layout/process1"/>
    <dgm:cxn modelId="{2DF7E3D7-1D22-4C90-BE07-6DD39816527B}" type="presParOf" srcId="{A9595F91-66E5-4770-A8C6-610B390981E8}" destId="{0A1DB0F6-2F24-4BB5-B8AC-9F9184C798A6}" srcOrd="5" destOrd="0" presId="urn:microsoft.com/office/officeart/2005/8/layout/process1"/>
    <dgm:cxn modelId="{908548A0-0032-4DF5-900B-56DFA46CBAFB}" type="presParOf" srcId="{0A1DB0F6-2F24-4BB5-B8AC-9F9184C798A6}" destId="{92C20A58-0694-4B5E-8E76-2C24A91E0630}" srcOrd="0" destOrd="0" presId="urn:microsoft.com/office/officeart/2005/8/layout/process1"/>
    <dgm:cxn modelId="{CDF414CC-AF4F-4F1C-997B-D35C5E00FC09}" type="presParOf" srcId="{A9595F91-66E5-4770-A8C6-610B390981E8}" destId="{3E55DD66-4056-477D-A1B7-A975AD21EB77}" srcOrd="6" destOrd="0" presId="urn:microsoft.com/office/officeart/2005/8/layout/process1"/>
    <dgm:cxn modelId="{E5A41B6D-0B38-4AFD-9D16-B8D341DB917D}" type="presParOf" srcId="{A9595F91-66E5-4770-A8C6-610B390981E8}" destId="{5483DB0A-FEDD-4E55-9772-82300006D595}" srcOrd="7" destOrd="0" presId="urn:microsoft.com/office/officeart/2005/8/layout/process1"/>
    <dgm:cxn modelId="{DC849B9E-2272-4A09-84B7-2247CE4AAFB6}" type="presParOf" srcId="{5483DB0A-FEDD-4E55-9772-82300006D595}" destId="{A0089CC6-B61C-47CD-811C-AAE56B70960B}" srcOrd="0" destOrd="0" presId="urn:microsoft.com/office/officeart/2005/8/layout/process1"/>
    <dgm:cxn modelId="{EBA2C421-1E84-4391-BBCA-9BA8663FCA50}" type="presParOf" srcId="{A9595F91-66E5-4770-A8C6-610B390981E8}" destId="{64317E09-F7B0-44E5-887A-A6199548AA1C}"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3BD36F-EE75-490A-8A80-B8DA2CFF497B}" type="doc">
      <dgm:prSet loTypeId="urn:microsoft.com/office/officeart/2005/8/layout/process1" loCatId="process" qsTypeId="urn:microsoft.com/office/officeart/2005/8/quickstyle/simple1" qsCatId="simple" csTypeId="urn:microsoft.com/office/officeart/2005/8/colors/accent1_2" csCatId="accent1" phldr="1"/>
      <dgm:spPr/>
    </dgm:pt>
    <dgm:pt modelId="{98E858E7-5F36-4724-94A3-49E43CEC31C8}">
      <dgm:prSet phldrT="[Text]"/>
      <dgm:spPr/>
      <dgm:t>
        <a:bodyPr/>
        <a:lstStyle/>
        <a:p>
          <a:r>
            <a:rPr lang="en-US"/>
            <a:t>Migrate Access Lifecycle Management</a:t>
          </a:r>
        </a:p>
      </dgm:t>
    </dgm:pt>
    <dgm:pt modelId="{8A7BD970-0455-4339-A25E-2E3CFF342600}" type="parTrans" cxnId="{FB4C5F38-9DEE-437E-845F-D7ED1A3FFB2E}">
      <dgm:prSet/>
      <dgm:spPr/>
      <dgm:t>
        <a:bodyPr/>
        <a:lstStyle/>
        <a:p>
          <a:endParaRPr lang="en-US"/>
        </a:p>
      </dgm:t>
    </dgm:pt>
    <dgm:pt modelId="{20EFE1B9-E756-4D04-83EA-265A8A335039}" type="sibTrans" cxnId="{FB4C5F38-9DEE-437E-845F-D7ED1A3FFB2E}">
      <dgm:prSet/>
      <dgm:spPr/>
      <dgm:t>
        <a:bodyPr/>
        <a:lstStyle/>
        <a:p>
          <a:endParaRPr lang="en-US"/>
        </a:p>
      </dgm:t>
    </dgm:pt>
    <dgm:pt modelId="{B66592B0-7692-45DE-A5DB-30ADE8EE9409}">
      <dgm:prSet phldrT="[Text]"/>
      <dgm:spPr/>
      <dgm:t>
        <a:bodyPr/>
        <a:lstStyle/>
        <a:p>
          <a:r>
            <a:rPr lang="en-US"/>
            <a:t>Identity Federation (B2B)</a:t>
          </a:r>
        </a:p>
      </dgm:t>
    </dgm:pt>
    <dgm:pt modelId="{5F96E0A2-BDE0-4328-B6C1-6FD5657A0DB7}" type="parTrans" cxnId="{AA0EF3B5-0AE8-43B6-AF99-19408F7D896A}">
      <dgm:prSet/>
      <dgm:spPr/>
      <dgm:t>
        <a:bodyPr/>
        <a:lstStyle/>
        <a:p>
          <a:endParaRPr lang="en-US"/>
        </a:p>
      </dgm:t>
    </dgm:pt>
    <dgm:pt modelId="{C5E425C6-747B-4EF3-A35B-285E2A2DD8A7}" type="sibTrans" cxnId="{AA0EF3B5-0AE8-43B6-AF99-19408F7D896A}">
      <dgm:prSet/>
      <dgm:spPr/>
      <dgm:t>
        <a:bodyPr/>
        <a:lstStyle/>
        <a:p>
          <a:endParaRPr lang="en-US"/>
        </a:p>
      </dgm:t>
    </dgm:pt>
    <dgm:pt modelId="{F0D226DC-DCC1-492B-BACA-86492CA8B51A}">
      <dgm:prSet phldrT="[Text]"/>
      <dgm:spPr/>
      <dgm:t>
        <a:bodyPr/>
        <a:lstStyle/>
        <a:p>
          <a:r>
            <a:rPr lang="en-US"/>
            <a:t>Extend Microsoft Entra via Low-Code interfaces</a:t>
          </a:r>
        </a:p>
      </dgm:t>
    </dgm:pt>
    <dgm:pt modelId="{1E5901E3-F50E-4F7D-B76E-6AA9D9C8CC9A}" type="parTrans" cxnId="{BF0AC082-B2EA-4415-8AA2-D54859865E30}">
      <dgm:prSet/>
      <dgm:spPr/>
      <dgm:t>
        <a:bodyPr/>
        <a:lstStyle/>
        <a:p>
          <a:endParaRPr lang="en-US"/>
        </a:p>
      </dgm:t>
    </dgm:pt>
    <dgm:pt modelId="{D97369B9-CAC5-4940-AA81-980B9AA34A76}" type="sibTrans" cxnId="{BF0AC082-B2EA-4415-8AA2-D54859865E30}">
      <dgm:prSet/>
      <dgm:spPr/>
      <dgm:t>
        <a:bodyPr/>
        <a:lstStyle/>
        <a:p>
          <a:endParaRPr lang="en-US"/>
        </a:p>
      </dgm:t>
    </dgm:pt>
    <dgm:pt modelId="{B9EA2BDD-ADD6-44C2-8E3B-7D18D4F55644}">
      <dgm:prSet phldrT="[Text]"/>
      <dgm:spPr/>
      <dgm:t>
        <a:bodyPr/>
        <a:lstStyle/>
        <a:p>
          <a:r>
            <a:rPr lang="en-US"/>
            <a:t>Reporting</a:t>
          </a:r>
        </a:p>
      </dgm:t>
    </dgm:pt>
    <dgm:pt modelId="{797FCE91-272F-47C8-88B2-D69B1B35402B}" type="parTrans" cxnId="{A8C68DC2-3191-47C5-9635-DA97AF193C5D}">
      <dgm:prSet/>
      <dgm:spPr/>
      <dgm:t>
        <a:bodyPr/>
        <a:lstStyle/>
        <a:p>
          <a:endParaRPr lang="en-US"/>
        </a:p>
      </dgm:t>
    </dgm:pt>
    <dgm:pt modelId="{3019C636-910A-4D71-A3F8-C3A0154FFD70}" type="sibTrans" cxnId="{A8C68DC2-3191-47C5-9635-DA97AF193C5D}">
      <dgm:prSet/>
      <dgm:spPr/>
      <dgm:t>
        <a:bodyPr/>
        <a:lstStyle/>
        <a:p>
          <a:endParaRPr lang="en-US"/>
        </a:p>
      </dgm:t>
    </dgm:pt>
    <dgm:pt modelId="{1DA43CC9-002A-4A1A-B92D-1EC1F57785F1}">
      <dgm:prSet phldrT="[Text]"/>
      <dgm:spPr/>
      <dgm:t>
        <a:bodyPr/>
        <a:lstStyle/>
        <a:p>
          <a:r>
            <a:rPr lang="en-US"/>
            <a:t>Use Entra ID or AD DS to provide Directory Services</a:t>
          </a:r>
        </a:p>
      </dgm:t>
    </dgm:pt>
    <dgm:pt modelId="{5938D704-234B-4CB8-95BA-FC5F26DA12F8}" type="parTrans" cxnId="{68C87FAB-27C0-4294-AD7D-33CF8C0DB8DF}">
      <dgm:prSet/>
      <dgm:spPr/>
      <dgm:t>
        <a:bodyPr/>
        <a:lstStyle/>
        <a:p>
          <a:endParaRPr lang="en-US"/>
        </a:p>
      </dgm:t>
    </dgm:pt>
    <dgm:pt modelId="{9D4FCDE4-641A-49C5-B6A4-5A925BDCD587}" type="sibTrans" cxnId="{68C87FAB-27C0-4294-AD7D-33CF8C0DB8DF}">
      <dgm:prSet/>
      <dgm:spPr/>
      <dgm:t>
        <a:bodyPr/>
        <a:lstStyle/>
        <a:p>
          <a:endParaRPr lang="en-US"/>
        </a:p>
      </dgm:t>
    </dgm:pt>
    <dgm:pt modelId="{A9595F91-66E5-4770-A8C6-610B390981E8}" type="pres">
      <dgm:prSet presAssocID="{CD3BD36F-EE75-490A-8A80-B8DA2CFF497B}" presName="Name0" presStyleCnt="0">
        <dgm:presLayoutVars>
          <dgm:dir/>
          <dgm:resizeHandles val="exact"/>
        </dgm:presLayoutVars>
      </dgm:prSet>
      <dgm:spPr/>
    </dgm:pt>
    <dgm:pt modelId="{DC7E95E7-63EB-481C-978F-63DFC4FD6CBE}" type="pres">
      <dgm:prSet presAssocID="{98E858E7-5F36-4724-94A3-49E43CEC31C8}" presName="node" presStyleLbl="node1" presStyleIdx="0" presStyleCnt="5">
        <dgm:presLayoutVars>
          <dgm:bulletEnabled val="1"/>
        </dgm:presLayoutVars>
      </dgm:prSet>
      <dgm:spPr/>
    </dgm:pt>
    <dgm:pt modelId="{3B4C6131-076D-45F1-88F4-02356ED824C9}" type="pres">
      <dgm:prSet presAssocID="{20EFE1B9-E756-4D04-83EA-265A8A335039}" presName="sibTrans" presStyleLbl="sibTrans2D1" presStyleIdx="0" presStyleCnt="4"/>
      <dgm:spPr/>
    </dgm:pt>
    <dgm:pt modelId="{4092273A-33D3-4855-A272-1A6B6018C449}" type="pres">
      <dgm:prSet presAssocID="{20EFE1B9-E756-4D04-83EA-265A8A335039}" presName="connectorText" presStyleLbl="sibTrans2D1" presStyleIdx="0" presStyleCnt="4"/>
      <dgm:spPr/>
    </dgm:pt>
    <dgm:pt modelId="{36D0B491-74CF-41C2-B17E-1C67B658D6E8}" type="pres">
      <dgm:prSet presAssocID="{B9EA2BDD-ADD6-44C2-8E3B-7D18D4F55644}" presName="node" presStyleLbl="node1" presStyleIdx="1" presStyleCnt="5">
        <dgm:presLayoutVars>
          <dgm:bulletEnabled val="1"/>
        </dgm:presLayoutVars>
      </dgm:prSet>
      <dgm:spPr/>
    </dgm:pt>
    <dgm:pt modelId="{9036F6DA-4EBA-4CBE-B4BB-62D2C99D240A}" type="pres">
      <dgm:prSet presAssocID="{3019C636-910A-4D71-A3F8-C3A0154FFD70}" presName="sibTrans" presStyleLbl="sibTrans2D1" presStyleIdx="1" presStyleCnt="4"/>
      <dgm:spPr/>
    </dgm:pt>
    <dgm:pt modelId="{A1F2CD5A-4E0F-4D5F-B11A-449116343CE0}" type="pres">
      <dgm:prSet presAssocID="{3019C636-910A-4D71-A3F8-C3A0154FFD70}" presName="connectorText" presStyleLbl="sibTrans2D1" presStyleIdx="1" presStyleCnt="4"/>
      <dgm:spPr/>
    </dgm:pt>
    <dgm:pt modelId="{19CD5919-DB07-4534-A448-546C21079016}" type="pres">
      <dgm:prSet presAssocID="{B66592B0-7692-45DE-A5DB-30ADE8EE9409}" presName="node" presStyleLbl="node1" presStyleIdx="2" presStyleCnt="5">
        <dgm:presLayoutVars>
          <dgm:bulletEnabled val="1"/>
        </dgm:presLayoutVars>
      </dgm:prSet>
      <dgm:spPr/>
    </dgm:pt>
    <dgm:pt modelId="{0A1DB0F6-2F24-4BB5-B8AC-9F9184C798A6}" type="pres">
      <dgm:prSet presAssocID="{C5E425C6-747B-4EF3-A35B-285E2A2DD8A7}" presName="sibTrans" presStyleLbl="sibTrans2D1" presStyleIdx="2" presStyleCnt="4"/>
      <dgm:spPr/>
    </dgm:pt>
    <dgm:pt modelId="{92C20A58-0694-4B5E-8E76-2C24A91E0630}" type="pres">
      <dgm:prSet presAssocID="{C5E425C6-747B-4EF3-A35B-285E2A2DD8A7}" presName="connectorText" presStyleLbl="sibTrans2D1" presStyleIdx="2" presStyleCnt="4"/>
      <dgm:spPr/>
    </dgm:pt>
    <dgm:pt modelId="{212F3FB6-284A-4FE5-86EB-A8F832085858}" type="pres">
      <dgm:prSet presAssocID="{1DA43CC9-002A-4A1A-B92D-1EC1F57785F1}" presName="node" presStyleLbl="node1" presStyleIdx="3" presStyleCnt="5">
        <dgm:presLayoutVars>
          <dgm:bulletEnabled val="1"/>
        </dgm:presLayoutVars>
      </dgm:prSet>
      <dgm:spPr/>
    </dgm:pt>
    <dgm:pt modelId="{912F06BD-4E82-4847-9A1D-066A0A5A20DB}" type="pres">
      <dgm:prSet presAssocID="{9D4FCDE4-641A-49C5-B6A4-5A925BDCD587}" presName="sibTrans" presStyleLbl="sibTrans2D1" presStyleIdx="3" presStyleCnt="4"/>
      <dgm:spPr/>
    </dgm:pt>
    <dgm:pt modelId="{DEA90C5F-95F2-497D-ABDD-C431285C896E}" type="pres">
      <dgm:prSet presAssocID="{9D4FCDE4-641A-49C5-B6A4-5A925BDCD587}" presName="connectorText" presStyleLbl="sibTrans2D1" presStyleIdx="3" presStyleCnt="4"/>
      <dgm:spPr/>
    </dgm:pt>
    <dgm:pt modelId="{64317E09-F7B0-44E5-887A-A6199548AA1C}" type="pres">
      <dgm:prSet presAssocID="{F0D226DC-DCC1-492B-BACA-86492CA8B51A}" presName="node" presStyleLbl="node1" presStyleIdx="4" presStyleCnt="5">
        <dgm:presLayoutVars>
          <dgm:bulletEnabled val="1"/>
        </dgm:presLayoutVars>
      </dgm:prSet>
      <dgm:spPr/>
    </dgm:pt>
  </dgm:ptLst>
  <dgm:cxnLst>
    <dgm:cxn modelId="{F8F24308-1174-4A58-9ACB-39C465994659}" type="presOf" srcId="{20EFE1B9-E756-4D04-83EA-265A8A335039}" destId="{3B4C6131-076D-45F1-88F4-02356ED824C9}" srcOrd="0" destOrd="0" presId="urn:microsoft.com/office/officeart/2005/8/layout/process1"/>
    <dgm:cxn modelId="{AE988A28-48E4-4D30-856B-B6311B1D8038}" type="presOf" srcId="{3019C636-910A-4D71-A3F8-C3A0154FFD70}" destId="{9036F6DA-4EBA-4CBE-B4BB-62D2C99D240A}" srcOrd="0" destOrd="0" presId="urn:microsoft.com/office/officeart/2005/8/layout/process1"/>
    <dgm:cxn modelId="{F99D5D2C-016B-40E6-B2A1-7D352E28B0A8}" type="presOf" srcId="{9D4FCDE4-641A-49C5-B6A4-5A925BDCD587}" destId="{912F06BD-4E82-4847-9A1D-066A0A5A20DB}" srcOrd="0" destOrd="0" presId="urn:microsoft.com/office/officeart/2005/8/layout/process1"/>
    <dgm:cxn modelId="{89697131-833B-4B38-AF9A-56CBBEC32F76}" type="presOf" srcId="{B9EA2BDD-ADD6-44C2-8E3B-7D18D4F55644}" destId="{36D0B491-74CF-41C2-B17E-1C67B658D6E8}" srcOrd="0" destOrd="0" presId="urn:microsoft.com/office/officeart/2005/8/layout/process1"/>
    <dgm:cxn modelId="{FB4C5F38-9DEE-437E-845F-D7ED1A3FFB2E}" srcId="{CD3BD36F-EE75-490A-8A80-B8DA2CFF497B}" destId="{98E858E7-5F36-4724-94A3-49E43CEC31C8}" srcOrd="0" destOrd="0" parTransId="{8A7BD970-0455-4339-A25E-2E3CFF342600}" sibTransId="{20EFE1B9-E756-4D04-83EA-265A8A335039}"/>
    <dgm:cxn modelId="{3A80AC6E-59D9-444A-A034-EC668706F55B}" type="presOf" srcId="{C5E425C6-747B-4EF3-A35B-285E2A2DD8A7}" destId="{0A1DB0F6-2F24-4BB5-B8AC-9F9184C798A6}" srcOrd="0" destOrd="0" presId="urn:microsoft.com/office/officeart/2005/8/layout/process1"/>
    <dgm:cxn modelId="{BF0AC082-B2EA-4415-8AA2-D54859865E30}" srcId="{CD3BD36F-EE75-490A-8A80-B8DA2CFF497B}" destId="{F0D226DC-DCC1-492B-BACA-86492CA8B51A}" srcOrd="4" destOrd="0" parTransId="{1E5901E3-F50E-4F7D-B76E-6AA9D9C8CC9A}" sibTransId="{D97369B9-CAC5-4940-AA81-980B9AA34A76}"/>
    <dgm:cxn modelId="{6ABC418D-B377-4CD4-9B3F-5130BB1D9113}" type="presOf" srcId="{CD3BD36F-EE75-490A-8A80-B8DA2CFF497B}" destId="{A9595F91-66E5-4770-A8C6-610B390981E8}" srcOrd="0" destOrd="0" presId="urn:microsoft.com/office/officeart/2005/8/layout/process1"/>
    <dgm:cxn modelId="{0FBC568F-2377-4800-AF82-D80142D6EFDB}" type="presOf" srcId="{C5E425C6-747B-4EF3-A35B-285E2A2DD8A7}" destId="{92C20A58-0694-4B5E-8E76-2C24A91E0630}" srcOrd="1" destOrd="0" presId="urn:microsoft.com/office/officeart/2005/8/layout/process1"/>
    <dgm:cxn modelId="{B24720AB-27F1-4E9E-996B-9123E9E5136F}" type="presOf" srcId="{1DA43CC9-002A-4A1A-B92D-1EC1F57785F1}" destId="{212F3FB6-284A-4FE5-86EB-A8F832085858}" srcOrd="0" destOrd="0" presId="urn:microsoft.com/office/officeart/2005/8/layout/process1"/>
    <dgm:cxn modelId="{68C87FAB-27C0-4294-AD7D-33CF8C0DB8DF}" srcId="{CD3BD36F-EE75-490A-8A80-B8DA2CFF497B}" destId="{1DA43CC9-002A-4A1A-B92D-1EC1F57785F1}" srcOrd="3" destOrd="0" parTransId="{5938D704-234B-4CB8-95BA-FC5F26DA12F8}" sibTransId="{9D4FCDE4-641A-49C5-B6A4-5A925BDCD587}"/>
    <dgm:cxn modelId="{BBCA44B2-E256-4EF7-AF18-4AA2C4AFA9F4}" type="presOf" srcId="{9D4FCDE4-641A-49C5-B6A4-5A925BDCD587}" destId="{DEA90C5F-95F2-497D-ABDD-C431285C896E}" srcOrd="1" destOrd="0" presId="urn:microsoft.com/office/officeart/2005/8/layout/process1"/>
    <dgm:cxn modelId="{AA0EF3B5-0AE8-43B6-AF99-19408F7D896A}" srcId="{CD3BD36F-EE75-490A-8A80-B8DA2CFF497B}" destId="{B66592B0-7692-45DE-A5DB-30ADE8EE9409}" srcOrd="2" destOrd="0" parTransId="{5F96E0A2-BDE0-4328-B6C1-6FD5657A0DB7}" sibTransId="{C5E425C6-747B-4EF3-A35B-285E2A2DD8A7}"/>
    <dgm:cxn modelId="{5A991CB8-4690-419D-A319-923C0BD5E310}" type="presOf" srcId="{F0D226DC-DCC1-492B-BACA-86492CA8B51A}" destId="{64317E09-F7B0-44E5-887A-A6199548AA1C}" srcOrd="0" destOrd="0" presId="urn:microsoft.com/office/officeart/2005/8/layout/process1"/>
    <dgm:cxn modelId="{777004B9-6055-4934-A828-295D83BA4F78}" type="presOf" srcId="{98E858E7-5F36-4724-94A3-49E43CEC31C8}" destId="{DC7E95E7-63EB-481C-978F-63DFC4FD6CBE}" srcOrd="0" destOrd="0" presId="urn:microsoft.com/office/officeart/2005/8/layout/process1"/>
    <dgm:cxn modelId="{D9701AC0-5CA0-4C1C-B867-461DEDE15ACF}" type="presOf" srcId="{3019C636-910A-4D71-A3F8-C3A0154FFD70}" destId="{A1F2CD5A-4E0F-4D5F-B11A-449116343CE0}" srcOrd="1" destOrd="0" presId="urn:microsoft.com/office/officeart/2005/8/layout/process1"/>
    <dgm:cxn modelId="{A8C68DC2-3191-47C5-9635-DA97AF193C5D}" srcId="{CD3BD36F-EE75-490A-8A80-B8DA2CFF497B}" destId="{B9EA2BDD-ADD6-44C2-8E3B-7D18D4F55644}" srcOrd="1" destOrd="0" parTransId="{797FCE91-272F-47C8-88B2-D69B1B35402B}" sibTransId="{3019C636-910A-4D71-A3F8-C3A0154FFD70}"/>
    <dgm:cxn modelId="{C928B3D4-D370-4732-9D8D-3B32AA8499F6}" type="presOf" srcId="{20EFE1B9-E756-4D04-83EA-265A8A335039}" destId="{4092273A-33D3-4855-A272-1A6B6018C449}" srcOrd="1" destOrd="0" presId="urn:microsoft.com/office/officeart/2005/8/layout/process1"/>
    <dgm:cxn modelId="{A84A8FD5-1723-4E4C-9DD9-489A59536F33}" type="presOf" srcId="{B66592B0-7692-45DE-A5DB-30ADE8EE9409}" destId="{19CD5919-DB07-4534-A448-546C21079016}" srcOrd="0" destOrd="0" presId="urn:microsoft.com/office/officeart/2005/8/layout/process1"/>
    <dgm:cxn modelId="{4E372916-2803-466D-865E-CA9EE143BBA4}" type="presParOf" srcId="{A9595F91-66E5-4770-A8C6-610B390981E8}" destId="{DC7E95E7-63EB-481C-978F-63DFC4FD6CBE}" srcOrd="0" destOrd="0" presId="urn:microsoft.com/office/officeart/2005/8/layout/process1"/>
    <dgm:cxn modelId="{1277FEC5-7DC6-4A91-A8BB-950D4D35E320}" type="presParOf" srcId="{A9595F91-66E5-4770-A8C6-610B390981E8}" destId="{3B4C6131-076D-45F1-88F4-02356ED824C9}" srcOrd="1" destOrd="0" presId="urn:microsoft.com/office/officeart/2005/8/layout/process1"/>
    <dgm:cxn modelId="{706F215E-87CB-43DD-9498-AA469588F3A6}" type="presParOf" srcId="{3B4C6131-076D-45F1-88F4-02356ED824C9}" destId="{4092273A-33D3-4855-A272-1A6B6018C449}" srcOrd="0" destOrd="0" presId="urn:microsoft.com/office/officeart/2005/8/layout/process1"/>
    <dgm:cxn modelId="{807891CC-40B3-473E-B296-0E85B3B83D04}" type="presParOf" srcId="{A9595F91-66E5-4770-A8C6-610B390981E8}" destId="{36D0B491-74CF-41C2-B17E-1C67B658D6E8}" srcOrd="2" destOrd="0" presId="urn:microsoft.com/office/officeart/2005/8/layout/process1"/>
    <dgm:cxn modelId="{E37046D1-8484-485C-93DE-0EBFB3E9A717}" type="presParOf" srcId="{A9595F91-66E5-4770-A8C6-610B390981E8}" destId="{9036F6DA-4EBA-4CBE-B4BB-62D2C99D240A}" srcOrd="3" destOrd="0" presId="urn:microsoft.com/office/officeart/2005/8/layout/process1"/>
    <dgm:cxn modelId="{D6AB6282-1974-448F-874A-894E466B3963}" type="presParOf" srcId="{9036F6DA-4EBA-4CBE-B4BB-62D2C99D240A}" destId="{A1F2CD5A-4E0F-4D5F-B11A-449116343CE0}" srcOrd="0" destOrd="0" presId="urn:microsoft.com/office/officeart/2005/8/layout/process1"/>
    <dgm:cxn modelId="{61947539-D92C-43DF-AF52-894AA6430CCE}" type="presParOf" srcId="{A9595F91-66E5-4770-A8C6-610B390981E8}" destId="{19CD5919-DB07-4534-A448-546C21079016}" srcOrd="4" destOrd="0" presId="urn:microsoft.com/office/officeart/2005/8/layout/process1"/>
    <dgm:cxn modelId="{2DF7E3D7-1D22-4C90-BE07-6DD39816527B}" type="presParOf" srcId="{A9595F91-66E5-4770-A8C6-610B390981E8}" destId="{0A1DB0F6-2F24-4BB5-B8AC-9F9184C798A6}" srcOrd="5" destOrd="0" presId="urn:microsoft.com/office/officeart/2005/8/layout/process1"/>
    <dgm:cxn modelId="{908548A0-0032-4DF5-900B-56DFA46CBAFB}" type="presParOf" srcId="{0A1DB0F6-2F24-4BB5-B8AC-9F9184C798A6}" destId="{92C20A58-0694-4B5E-8E76-2C24A91E0630}" srcOrd="0" destOrd="0" presId="urn:microsoft.com/office/officeart/2005/8/layout/process1"/>
    <dgm:cxn modelId="{7F93FB83-7BC6-40B6-B4A2-A4741A963CD7}" type="presParOf" srcId="{A9595F91-66E5-4770-A8C6-610B390981E8}" destId="{212F3FB6-284A-4FE5-86EB-A8F832085858}" srcOrd="6" destOrd="0" presId="urn:microsoft.com/office/officeart/2005/8/layout/process1"/>
    <dgm:cxn modelId="{739723DF-253E-43F9-AF90-94EB6793217E}" type="presParOf" srcId="{A9595F91-66E5-4770-A8C6-610B390981E8}" destId="{912F06BD-4E82-4847-9A1D-066A0A5A20DB}" srcOrd="7" destOrd="0" presId="urn:microsoft.com/office/officeart/2005/8/layout/process1"/>
    <dgm:cxn modelId="{D75D8698-808A-4E53-A1EC-5282BAB3B18E}" type="presParOf" srcId="{912F06BD-4E82-4847-9A1D-066A0A5A20DB}" destId="{DEA90C5F-95F2-497D-ABDD-C431285C896E}" srcOrd="0" destOrd="0" presId="urn:microsoft.com/office/officeart/2005/8/layout/process1"/>
    <dgm:cxn modelId="{EBA2C421-1E84-4391-BBCA-9BA8663FCA50}" type="presParOf" srcId="{A9595F91-66E5-4770-A8C6-610B390981E8}" destId="{64317E09-F7B0-44E5-887A-A6199548AA1C}" srcOrd="8"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EA9CA2-5F7A-4D84-9DDD-9FD0FEBE4AAE}" type="doc">
      <dgm:prSet loTypeId="urn:microsoft.com/office/officeart/2005/8/layout/process1" loCatId="process" qsTypeId="urn:microsoft.com/office/officeart/2005/8/quickstyle/simple1" qsCatId="simple" csTypeId="urn:microsoft.com/office/officeart/2005/8/colors/accent1_2" csCatId="accent1" phldr="1"/>
      <dgm:spPr/>
    </dgm:pt>
    <dgm:pt modelId="{1593DF22-D252-4D4A-9E1E-88DF5D12ED21}">
      <dgm:prSet phldrT="[Text]"/>
      <dgm:spPr/>
      <dgm:t>
        <a:bodyPr/>
        <a:lstStyle/>
        <a:p>
          <a:r>
            <a:rPr lang="en-US" noProof="0"/>
            <a:t>Enable Self-Service User Management capabilities</a:t>
          </a:r>
        </a:p>
      </dgm:t>
    </dgm:pt>
    <dgm:pt modelId="{368998E8-6ED0-43D1-92A9-7BDF8FE1CAD7}" type="parTrans" cxnId="{A3BB0AEF-A039-4565-8A18-97612212A8D5}">
      <dgm:prSet/>
      <dgm:spPr/>
      <dgm:t>
        <a:bodyPr/>
        <a:lstStyle/>
        <a:p>
          <a:endParaRPr lang="en-US"/>
        </a:p>
      </dgm:t>
    </dgm:pt>
    <dgm:pt modelId="{EA7E430D-E3A1-4A8D-8A1B-93FC1252F69A}" type="sibTrans" cxnId="{A3BB0AEF-A039-4565-8A18-97612212A8D5}">
      <dgm:prSet/>
      <dgm:spPr/>
      <dgm:t>
        <a:bodyPr/>
        <a:lstStyle/>
        <a:p>
          <a:endParaRPr lang="en-US"/>
        </a:p>
      </dgm:t>
    </dgm:pt>
    <dgm:pt modelId="{296E0ED8-7C28-41E7-9F5E-F538E8BA9D86}">
      <dgm:prSet phldrT="[Text]"/>
      <dgm:spPr/>
      <dgm:t>
        <a:bodyPr/>
        <a:lstStyle/>
        <a:p>
          <a:r>
            <a:rPr lang="en-US" noProof="0"/>
            <a:t>Create your reports and workbooks</a:t>
          </a:r>
        </a:p>
      </dgm:t>
    </dgm:pt>
    <dgm:pt modelId="{5FCB240E-2A1A-482C-83F9-184E9001EE20}" type="parTrans" cxnId="{91FFC680-7866-460E-ABB0-331E0D9E9DFC}">
      <dgm:prSet/>
      <dgm:spPr/>
      <dgm:t>
        <a:bodyPr/>
        <a:lstStyle/>
        <a:p>
          <a:endParaRPr lang="en-US"/>
        </a:p>
      </dgm:t>
    </dgm:pt>
    <dgm:pt modelId="{2FCBED7B-20E8-4C1E-B016-0D02A4E77CB1}" type="sibTrans" cxnId="{91FFC680-7866-460E-ABB0-331E0D9E9DFC}">
      <dgm:prSet/>
      <dgm:spPr/>
      <dgm:t>
        <a:bodyPr/>
        <a:lstStyle/>
        <a:p>
          <a:endParaRPr lang="en-US"/>
        </a:p>
      </dgm:t>
    </dgm:pt>
    <dgm:pt modelId="{F4CA1254-F7E0-4083-93DB-674DF944B194}">
      <dgm:prSet phldrT="[Text]"/>
      <dgm:spPr/>
      <dgm:t>
        <a:bodyPr/>
        <a:lstStyle/>
        <a:p>
          <a:r>
            <a:rPr lang="en-US" noProof="0"/>
            <a:t>Deploy any customization or low-code extension</a:t>
          </a:r>
        </a:p>
      </dgm:t>
    </dgm:pt>
    <dgm:pt modelId="{9E790C34-795B-4DC7-96C5-10F5FD38AD3D}" type="parTrans" cxnId="{0869CDDB-E126-4AC1-949E-532ACFFEA584}">
      <dgm:prSet/>
      <dgm:spPr/>
      <dgm:t>
        <a:bodyPr/>
        <a:lstStyle/>
        <a:p>
          <a:endParaRPr lang="en-US"/>
        </a:p>
      </dgm:t>
    </dgm:pt>
    <dgm:pt modelId="{B405932C-C77A-4D89-9FAD-098D6E808825}" type="sibTrans" cxnId="{0869CDDB-E126-4AC1-949E-532ACFFEA584}">
      <dgm:prSet/>
      <dgm:spPr/>
      <dgm:t>
        <a:bodyPr/>
        <a:lstStyle/>
        <a:p>
          <a:endParaRPr lang="en-US"/>
        </a:p>
      </dgm:t>
    </dgm:pt>
    <dgm:pt modelId="{FC40197A-1399-4863-8F6E-5DACC7BA346B}">
      <dgm:prSet phldrT="[Text]"/>
      <dgm:spPr/>
      <dgm:t>
        <a:bodyPr/>
        <a:lstStyle/>
        <a:p>
          <a:r>
            <a:rPr lang="en-US" noProof="0"/>
            <a:t>Enable Lifecycle Workflows for J/M/L</a:t>
          </a:r>
        </a:p>
      </dgm:t>
    </dgm:pt>
    <dgm:pt modelId="{DD7274FC-FAA0-44B3-A37C-0A521299AD46}" type="parTrans" cxnId="{AAC81C46-CA67-4458-81CC-46A1AF84E935}">
      <dgm:prSet/>
      <dgm:spPr/>
      <dgm:t>
        <a:bodyPr/>
        <a:lstStyle/>
        <a:p>
          <a:endParaRPr lang="en-US"/>
        </a:p>
      </dgm:t>
    </dgm:pt>
    <dgm:pt modelId="{2330C1A9-9B6B-48A1-A9A8-00728EE98A17}" type="sibTrans" cxnId="{AAC81C46-CA67-4458-81CC-46A1AF84E935}">
      <dgm:prSet/>
      <dgm:spPr/>
      <dgm:t>
        <a:bodyPr/>
        <a:lstStyle/>
        <a:p>
          <a:endParaRPr lang="en-US"/>
        </a:p>
      </dgm:t>
    </dgm:pt>
    <dgm:pt modelId="{3EF7C6A6-0BAC-43B9-93AC-3FA11984227A}" type="pres">
      <dgm:prSet presAssocID="{FEEA9CA2-5F7A-4D84-9DDD-9FD0FEBE4AAE}" presName="Name0" presStyleCnt="0">
        <dgm:presLayoutVars>
          <dgm:dir/>
          <dgm:resizeHandles val="exact"/>
        </dgm:presLayoutVars>
      </dgm:prSet>
      <dgm:spPr/>
    </dgm:pt>
    <dgm:pt modelId="{F4B3478B-D400-421E-A170-2E435404CC7F}" type="pres">
      <dgm:prSet presAssocID="{FC40197A-1399-4863-8F6E-5DACC7BA346B}" presName="node" presStyleLbl="node1" presStyleIdx="0" presStyleCnt="4">
        <dgm:presLayoutVars>
          <dgm:bulletEnabled val="1"/>
        </dgm:presLayoutVars>
      </dgm:prSet>
      <dgm:spPr/>
    </dgm:pt>
    <dgm:pt modelId="{283742B7-51EE-482D-950E-06B7D444D8BB}" type="pres">
      <dgm:prSet presAssocID="{2330C1A9-9B6B-48A1-A9A8-00728EE98A17}" presName="sibTrans" presStyleLbl="sibTrans2D1" presStyleIdx="0" presStyleCnt="3"/>
      <dgm:spPr/>
    </dgm:pt>
    <dgm:pt modelId="{8096411C-7B01-47C7-93D1-448495089244}" type="pres">
      <dgm:prSet presAssocID="{2330C1A9-9B6B-48A1-A9A8-00728EE98A17}" presName="connectorText" presStyleLbl="sibTrans2D1" presStyleIdx="0" presStyleCnt="3"/>
      <dgm:spPr/>
    </dgm:pt>
    <dgm:pt modelId="{EB814740-6ED3-4944-9794-A9E4F22F32A1}" type="pres">
      <dgm:prSet presAssocID="{1593DF22-D252-4D4A-9E1E-88DF5D12ED21}" presName="node" presStyleLbl="node1" presStyleIdx="1" presStyleCnt="4">
        <dgm:presLayoutVars>
          <dgm:bulletEnabled val="1"/>
        </dgm:presLayoutVars>
      </dgm:prSet>
      <dgm:spPr/>
    </dgm:pt>
    <dgm:pt modelId="{20ECB18E-6920-4683-9359-3CA70AA8F276}" type="pres">
      <dgm:prSet presAssocID="{EA7E430D-E3A1-4A8D-8A1B-93FC1252F69A}" presName="sibTrans" presStyleLbl="sibTrans2D1" presStyleIdx="1" presStyleCnt="3"/>
      <dgm:spPr/>
    </dgm:pt>
    <dgm:pt modelId="{89FDC2CB-66A5-46F9-AE93-DA93BA57E052}" type="pres">
      <dgm:prSet presAssocID="{EA7E430D-E3A1-4A8D-8A1B-93FC1252F69A}" presName="connectorText" presStyleLbl="sibTrans2D1" presStyleIdx="1" presStyleCnt="3"/>
      <dgm:spPr/>
    </dgm:pt>
    <dgm:pt modelId="{E663A378-0C2A-4A51-A6B6-BA51135D47C3}" type="pres">
      <dgm:prSet presAssocID="{296E0ED8-7C28-41E7-9F5E-F538E8BA9D86}" presName="node" presStyleLbl="node1" presStyleIdx="2" presStyleCnt="4">
        <dgm:presLayoutVars>
          <dgm:bulletEnabled val="1"/>
        </dgm:presLayoutVars>
      </dgm:prSet>
      <dgm:spPr/>
    </dgm:pt>
    <dgm:pt modelId="{76E03B4F-068C-45DF-A402-8F58FE6988D8}" type="pres">
      <dgm:prSet presAssocID="{2FCBED7B-20E8-4C1E-B016-0D02A4E77CB1}" presName="sibTrans" presStyleLbl="sibTrans2D1" presStyleIdx="2" presStyleCnt="3"/>
      <dgm:spPr/>
    </dgm:pt>
    <dgm:pt modelId="{7C00B3F4-F803-40E9-A90D-78E159A5D106}" type="pres">
      <dgm:prSet presAssocID="{2FCBED7B-20E8-4C1E-B016-0D02A4E77CB1}" presName="connectorText" presStyleLbl="sibTrans2D1" presStyleIdx="2" presStyleCnt="3"/>
      <dgm:spPr/>
    </dgm:pt>
    <dgm:pt modelId="{305A8527-3565-49D2-A3BE-72ACD0268DEE}" type="pres">
      <dgm:prSet presAssocID="{F4CA1254-F7E0-4083-93DB-674DF944B194}" presName="node" presStyleLbl="node1" presStyleIdx="3" presStyleCnt="4">
        <dgm:presLayoutVars>
          <dgm:bulletEnabled val="1"/>
        </dgm:presLayoutVars>
      </dgm:prSet>
      <dgm:spPr/>
    </dgm:pt>
  </dgm:ptLst>
  <dgm:cxnLst>
    <dgm:cxn modelId="{13D65300-394B-47F1-867F-C9A195129660}" type="presOf" srcId="{2330C1A9-9B6B-48A1-A9A8-00728EE98A17}" destId="{283742B7-51EE-482D-950E-06B7D444D8BB}" srcOrd="0" destOrd="0" presId="urn:microsoft.com/office/officeart/2005/8/layout/process1"/>
    <dgm:cxn modelId="{07A5D705-CBC6-4CEC-8156-C57A2E0D0CB4}" type="presOf" srcId="{F4CA1254-F7E0-4083-93DB-674DF944B194}" destId="{305A8527-3565-49D2-A3BE-72ACD0268DEE}" srcOrd="0" destOrd="0" presId="urn:microsoft.com/office/officeart/2005/8/layout/process1"/>
    <dgm:cxn modelId="{D83C6507-F964-4138-9DC1-F21D7CCB8F66}" type="presOf" srcId="{FC40197A-1399-4863-8F6E-5DACC7BA346B}" destId="{F4B3478B-D400-421E-A170-2E435404CC7F}" srcOrd="0" destOrd="0" presId="urn:microsoft.com/office/officeart/2005/8/layout/process1"/>
    <dgm:cxn modelId="{B311F808-D5E8-4FA7-B76D-111D33AF8F98}" type="presOf" srcId="{296E0ED8-7C28-41E7-9F5E-F538E8BA9D86}" destId="{E663A378-0C2A-4A51-A6B6-BA51135D47C3}" srcOrd="0" destOrd="0" presId="urn:microsoft.com/office/officeart/2005/8/layout/process1"/>
    <dgm:cxn modelId="{284A8A11-E2D9-4495-A729-C7C61FF245D2}" type="presOf" srcId="{2330C1A9-9B6B-48A1-A9A8-00728EE98A17}" destId="{8096411C-7B01-47C7-93D1-448495089244}" srcOrd="1" destOrd="0" presId="urn:microsoft.com/office/officeart/2005/8/layout/process1"/>
    <dgm:cxn modelId="{16FC8812-81A7-4894-87D4-74B1156504B7}" type="presOf" srcId="{EA7E430D-E3A1-4A8D-8A1B-93FC1252F69A}" destId="{20ECB18E-6920-4683-9359-3CA70AA8F276}" srcOrd="0" destOrd="0" presId="urn:microsoft.com/office/officeart/2005/8/layout/process1"/>
    <dgm:cxn modelId="{A5E0613D-153B-494B-A417-155C38682F61}" type="presOf" srcId="{EA7E430D-E3A1-4A8D-8A1B-93FC1252F69A}" destId="{89FDC2CB-66A5-46F9-AE93-DA93BA57E052}" srcOrd="1" destOrd="0" presId="urn:microsoft.com/office/officeart/2005/8/layout/process1"/>
    <dgm:cxn modelId="{EAEC2F40-2F5E-4503-B7A3-7190DAAF91E3}" type="presOf" srcId="{FEEA9CA2-5F7A-4D84-9DDD-9FD0FEBE4AAE}" destId="{3EF7C6A6-0BAC-43B9-93AC-3FA11984227A}" srcOrd="0" destOrd="0" presId="urn:microsoft.com/office/officeart/2005/8/layout/process1"/>
    <dgm:cxn modelId="{AAC81C46-CA67-4458-81CC-46A1AF84E935}" srcId="{FEEA9CA2-5F7A-4D84-9DDD-9FD0FEBE4AAE}" destId="{FC40197A-1399-4863-8F6E-5DACC7BA346B}" srcOrd="0" destOrd="0" parTransId="{DD7274FC-FAA0-44B3-A37C-0A521299AD46}" sibTransId="{2330C1A9-9B6B-48A1-A9A8-00728EE98A17}"/>
    <dgm:cxn modelId="{3258E677-F1F8-4AA6-8F75-7187BA78EB68}" type="presOf" srcId="{1593DF22-D252-4D4A-9E1E-88DF5D12ED21}" destId="{EB814740-6ED3-4944-9794-A9E4F22F32A1}" srcOrd="0" destOrd="0" presId="urn:microsoft.com/office/officeart/2005/8/layout/process1"/>
    <dgm:cxn modelId="{91FFC680-7866-460E-ABB0-331E0D9E9DFC}" srcId="{FEEA9CA2-5F7A-4D84-9DDD-9FD0FEBE4AAE}" destId="{296E0ED8-7C28-41E7-9F5E-F538E8BA9D86}" srcOrd="2" destOrd="0" parTransId="{5FCB240E-2A1A-482C-83F9-184E9001EE20}" sibTransId="{2FCBED7B-20E8-4C1E-B016-0D02A4E77CB1}"/>
    <dgm:cxn modelId="{424F27CC-5724-46CD-AD4F-3CBA80E8FAFE}" type="presOf" srcId="{2FCBED7B-20E8-4C1E-B016-0D02A4E77CB1}" destId="{76E03B4F-068C-45DF-A402-8F58FE6988D8}" srcOrd="0" destOrd="0" presId="urn:microsoft.com/office/officeart/2005/8/layout/process1"/>
    <dgm:cxn modelId="{0869CDDB-E126-4AC1-949E-532ACFFEA584}" srcId="{FEEA9CA2-5F7A-4D84-9DDD-9FD0FEBE4AAE}" destId="{F4CA1254-F7E0-4083-93DB-674DF944B194}" srcOrd="3" destOrd="0" parTransId="{9E790C34-795B-4DC7-96C5-10F5FD38AD3D}" sibTransId="{B405932C-C77A-4D89-9FAD-098D6E808825}"/>
    <dgm:cxn modelId="{367512E9-6D76-4847-AA73-8B055FF9FB75}" type="presOf" srcId="{2FCBED7B-20E8-4C1E-B016-0D02A4E77CB1}" destId="{7C00B3F4-F803-40E9-A90D-78E159A5D106}" srcOrd="1" destOrd="0" presId="urn:microsoft.com/office/officeart/2005/8/layout/process1"/>
    <dgm:cxn modelId="{A3BB0AEF-A039-4565-8A18-97612212A8D5}" srcId="{FEEA9CA2-5F7A-4D84-9DDD-9FD0FEBE4AAE}" destId="{1593DF22-D252-4D4A-9E1E-88DF5D12ED21}" srcOrd="1" destOrd="0" parTransId="{368998E8-6ED0-43D1-92A9-7BDF8FE1CAD7}" sibTransId="{EA7E430D-E3A1-4A8D-8A1B-93FC1252F69A}"/>
    <dgm:cxn modelId="{324074C1-E045-4CD2-B180-6A5BEC47D1AF}" type="presParOf" srcId="{3EF7C6A6-0BAC-43B9-93AC-3FA11984227A}" destId="{F4B3478B-D400-421E-A170-2E435404CC7F}" srcOrd="0" destOrd="0" presId="urn:microsoft.com/office/officeart/2005/8/layout/process1"/>
    <dgm:cxn modelId="{631BE9CB-B5EA-4175-BAE9-33F55C621A17}" type="presParOf" srcId="{3EF7C6A6-0BAC-43B9-93AC-3FA11984227A}" destId="{283742B7-51EE-482D-950E-06B7D444D8BB}" srcOrd="1" destOrd="0" presId="urn:microsoft.com/office/officeart/2005/8/layout/process1"/>
    <dgm:cxn modelId="{63CC0A02-6A84-49D6-B985-EF0187158C44}" type="presParOf" srcId="{283742B7-51EE-482D-950E-06B7D444D8BB}" destId="{8096411C-7B01-47C7-93D1-448495089244}" srcOrd="0" destOrd="0" presId="urn:microsoft.com/office/officeart/2005/8/layout/process1"/>
    <dgm:cxn modelId="{E457E4CC-4534-4441-8E59-F596FF3E851D}" type="presParOf" srcId="{3EF7C6A6-0BAC-43B9-93AC-3FA11984227A}" destId="{EB814740-6ED3-4944-9794-A9E4F22F32A1}" srcOrd="2" destOrd="0" presId="urn:microsoft.com/office/officeart/2005/8/layout/process1"/>
    <dgm:cxn modelId="{918E8534-D72F-40ED-ADBF-04A6D62F8CCD}" type="presParOf" srcId="{3EF7C6A6-0BAC-43B9-93AC-3FA11984227A}" destId="{20ECB18E-6920-4683-9359-3CA70AA8F276}" srcOrd="3" destOrd="0" presId="urn:microsoft.com/office/officeart/2005/8/layout/process1"/>
    <dgm:cxn modelId="{84052E5B-B404-493B-BAB3-8C823DBC5F98}" type="presParOf" srcId="{20ECB18E-6920-4683-9359-3CA70AA8F276}" destId="{89FDC2CB-66A5-46F9-AE93-DA93BA57E052}" srcOrd="0" destOrd="0" presId="urn:microsoft.com/office/officeart/2005/8/layout/process1"/>
    <dgm:cxn modelId="{ACFA6462-597B-41ED-8882-2C2F61C702A9}" type="presParOf" srcId="{3EF7C6A6-0BAC-43B9-93AC-3FA11984227A}" destId="{E663A378-0C2A-4A51-A6B6-BA51135D47C3}" srcOrd="4" destOrd="0" presId="urn:microsoft.com/office/officeart/2005/8/layout/process1"/>
    <dgm:cxn modelId="{748C45F9-48D3-44C9-8AB1-AA7F239DE627}" type="presParOf" srcId="{3EF7C6A6-0BAC-43B9-93AC-3FA11984227A}" destId="{76E03B4F-068C-45DF-A402-8F58FE6988D8}" srcOrd="5" destOrd="0" presId="urn:microsoft.com/office/officeart/2005/8/layout/process1"/>
    <dgm:cxn modelId="{356DA159-6BBD-4294-BC1A-817B82344078}" type="presParOf" srcId="{76E03B4F-068C-45DF-A402-8F58FE6988D8}" destId="{7C00B3F4-F803-40E9-A90D-78E159A5D106}" srcOrd="0" destOrd="0" presId="urn:microsoft.com/office/officeart/2005/8/layout/process1"/>
    <dgm:cxn modelId="{18B86474-0140-4151-A4E0-9C0A607A44D9}" type="presParOf" srcId="{3EF7C6A6-0BAC-43B9-93AC-3FA11984227A}" destId="{305A8527-3565-49D2-A3BE-72ACD0268DE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EA9CA2-5F7A-4D84-9DDD-9FD0FEBE4AAE}" type="doc">
      <dgm:prSet loTypeId="urn:microsoft.com/office/officeart/2005/8/layout/process1" loCatId="process" qsTypeId="urn:microsoft.com/office/officeart/2005/8/quickstyle/simple1" qsCatId="simple" csTypeId="urn:microsoft.com/office/officeart/2005/8/colors/accent1_2" csCatId="accent1" phldr="1"/>
      <dgm:spPr/>
    </dgm:pt>
    <dgm:pt modelId="{0AA1D7BA-A41A-41EE-9764-8EA3DAFA990C}">
      <dgm:prSet phldrT="[Text]"/>
      <dgm:spPr/>
      <dgm:t>
        <a:bodyPr/>
        <a:lstStyle/>
        <a:p>
          <a:r>
            <a:rPr lang="en-US" noProof="0"/>
            <a:t>Connect your HR Sources to Microsoft Entra</a:t>
          </a:r>
        </a:p>
      </dgm:t>
    </dgm:pt>
    <dgm:pt modelId="{95682FE4-3AA9-48F3-83CC-4E727AEB0EAD}" type="parTrans" cxnId="{11DA3026-5DEF-46A0-B959-D06E6A1C79EF}">
      <dgm:prSet/>
      <dgm:spPr/>
      <dgm:t>
        <a:bodyPr/>
        <a:lstStyle/>
        <a:p>
          <a:endParaRPr lang="en-US"/>
        </a:p>
      </dgm:t>
    </dgm:pt>
    <dgm:pt modelId="{683955CE-C02A-43BA-A961-80E0DFE1C3FF}" type="sibTrans" cxnId="{11DA3026-5DEF-46A0-B959-D06E6A1C79EF}">
      <dgm:prSet/>
      <dgm:spPr/>
      <dgm:t>
        <a:bodyPr/>
        <a:lstStyle/>
        <a:p>
          <a:endParaRPr lang="en-US"/>
        </a:p>
      </dgm:t>
    </dgm:pt>
    <dgm:pt modelId="{36C318A0-FB7E-4262-B141-CD842A748621}">
      <dgm:prSet phldrT="[Text]"/>
      <dgm:spPr/>
      <dgm:t>
        <a:bodyPr/>
        <a:lstStyle/>
        <a:p>
          <a:r>
            <a:rPr lang="en-US" noProof="0"/>
            <a:t>Connect your Apps for Provisioning and SSO</a:t>
          </a:r>
        </a:p>
      </dgm:t>
    </dgm:pt>
    <dgm:pt modelId="{3DD51856-8FFA-444F-9C95-07BF7D8286DE}" type="parTrans" cxnId="{1893F6D8-E02E-4344-82C2-C3858ADC9498}">
      <dgm:prSet/>
      <dgm:spPr/>
      <dgm:t>
        <a:bodyPr/>
        <a:lstStyle/>
        <a:p>
          <a:endParaRPr lang="en-US"/>
        </a:p>
      </dgm:t>
    </dgm:pt>
    <dgm:pt modelId="{EE7EAB3A-7BA9-4281-9A25-BBCFB11E3629}" type="sibTrans" cxnId="{1893F6D8-E02E-4344-82C2-C3858ADC9498}">
      <dgm:prSet/>
      <dgm:spPr/>
      <dgm:t>
        <a:bodyPr/>
        <a:lstStyle/>
        <a:p>
          <a:endParaRPr lang="en-US"/>
        </a:p>
      </dgm:t>
    </dgm:pt>
    <dgm:pt modelId="{C93662DE-E61C-4DFF-8213-8716B110D037}">
      <dgm:prSet phldrT="[Text]"/>
      <dgm:spPr/>
      <dgm:t>
        <a:bodyPr/>
        <a:lstStyle/>
        <a:p>
          <a:r>
            <a:rPr lang="en-US" noProof="0"/>
            <a:t>Map how each app integrate with Microsoft Entra </a:t>
          </a:r>
        </a:p>
      </dgm:t>
    </dgm:pt>
    <dgm:pt modelId="{86E68052-FE47-49A4-BC87-2DF3E7405721}" type="parTrans" cxnId="{E1EFA2BC-641F-4F96-A307-A9FA26D80683}">
      <dgm:prSet/>
      <dgm:spPr/>
      <dgm:t>
        <a:bodyPr/>
        <a:lstStyle/>
        <a:p>
          <a:endParaRPr lang="en-US"/>
        </a:p>
      </dgm:t>
    </dgm:pt>
    <dgm:pt modelId="{F91A07F5-86C2-4BB4-93BE-3C62392209E6}" type="sibTrans" cxnId="{E1EFA2BC-641F-4F96-A307-A9FA26D80683}">
      <dgm:prSet/>
      <dgm:spPr/>
      <dgm:t>
        <a:bodyPr/>
        <a:lstStyle/>
        <a:p>
          <a:endParaRPr lang="en-US"/>
        </a:p>
      </dgm:t>
    </dgm:pt>
    <dgm:pt modelId="{D371B82F-6B15-4E72-84A0-AE1C97175372}">
      <dgm:prSet phldrT="[Text]"/>
      <dgm:spPr/>
      <dgm:t>
        <a:bodyPr/>
        <a:lstStyle/>
        <a:p>
          <a:r>
            <a:rPr lang="en-US" noProof="0"/>
            <a:t>Establish order for Apps Integration </a:t>
          </a:r>
        </a:p>
      </dgm:t>
    </dgm:pt>
    <dgm:pt modelId="{FD13CECA-071E-4DF8-A6BE-379B2C1A6EC1}" type="parTrans" cxnId="{E30D9915-3EC2-415B-AF37-4051523A55F2}">
      <dgm:prSet/>
      <dgm:spPr/>
      <dgm:t>
        <a:bodyPr/>
        <a:lstStyle/>
        <a:p>
          <a:endParaRPr lang="en-US"/>
        </a:p>
      </dgm:t>
    </dgm:pt>
    <dgm:pt modelId="{AE30B644-CB2F-4394-BBAA-9C0CE9F8DD82}" type="sibTrans" cxnId="{E30D9915-3EC2-415B-AF37-4051523A55F2}">
      <dgm:prSet/>
      <dgm:spPr/>
      <dgm:t>
        <a:bodyPr/>
        <a:lstStyle/>
        <a:p>
          <a:endParaRPr lang="en-US"/>
        </a:p>
      </dgm:t>
    </dgm:pt>
    <dgm:pt modelId="{E769F7BB-FCA0-4372-ACCA-0D789EAEA456}">
      <dgm:prSet phldrT="[Text]"/>
      <dgm:spPr/>
      <dgm:t>
        <a:bodyPr/>
        <a:lstStyle/>
        <a:p>
          <a:r>
            <a:rPr lang="en-US" noProof="0"/>
            <a:t>Set up Access Management for Apps using Entra ID</a:t>
          </a:r>
        </a:p>
      </dgm:t>
    </dgm:pt>
    <dgm:pt modelId="{D148F199-02A8-4AD5-83E7-8C1B71287312}" type="parTrans" cxnId="{824DBB14-C2AA-4F95-AB0D-A545F8C0A00F}">
      <dgm:prSet/>
      <dgm:spPr/>
      <dgm:t>
        <a:bodyPr/>
        <a:lstStyle/>
        <a:p>
          <a:endParaRPr lang="en-US"/>
        </a:p>
      </dgm:t>
    </dgm:pt>
    <dgm:pt modelId="{2BC28F96-E360-4E0F-9E62-36A6E7A6C942}" type="sibTrans" cxnId="{824DBB14-C2AA-4F95-AB0D-A545F8C0A00F}">
      <dgm:prSet/>
      <dgm:spPr/>
      <dgm:t>
        <a:bodyPr/>
        <a:lstStyle/>
        <a:p>
          <a:endParaRPr lang="en-US"/>
        </a:p>
      </dgm:t>
    </dgm:pt>
    <dgm:pt modelId="{3EF7C6A6-0BAC-43B9-93AC-3FA11984227A}" type="pres">
      <dgm:prSet presAssocID="{FEEA9CA2-5F7A-4D84-9DDD-9FD0FEBE4AAE}" presName="Name0" presStyleCnt="0">
        <dgm:presLayoutVars>
          <dgm:dir/>
          <dgm:resizeHandles val="exact"/>
        </dgm:presLayoutVars>
      </dgm:prSet>
      <dgm:spPr/>
    </dgm:pt>
    <dgm:pt modelId="{C06FA550-84B8-4764-AD91-96DFF638E12D}" type="pres">
      <dgm:prSet presAssocID="{0AA1D7BA-A41A-41EE-9764-8EA3DAFA990C}" presName="node" presStyleLbl="node1" presStyleIdx="0" presStyleCnt="5">
        <dgm:presLayoutVars>
          <dgm:bulletEnabled val="1"/>
        </dgm:presLayoutVars>
      </dgm:prSet>
      <dgm:spPr/>
    </dgm:pt>
    <dgm:pt modelId="{D8CE15E2-BD1F-4CF9-B106-DCF823014C78}" type="pres">
      <dgm:prSet presAssocID="{683955CE-C02A-43BA-A961-80E0DFE1C3FF}" presName="sibTrans" presStyleLbl="sibTrans2D1" presStyleIdx="0" presStyleCnt="4"/>
      <dgm:spPr/>
    </dgm:pt>
    <dgm:pt modelId="{40FF077F-288B-4724-B119-80EA720F770D}" type="pres">
      <dgm:prSet presAssocID="{683955CE-C02A-43BA-A961-80E0DFE1C3FF}" presName="connectorText" presStyleLbl="sibTrans2D1" presStyleIdx="0" presStyleCnt="4"/>
      <dgm:spPr/>
    </dgm:pt>
    <dgm:pt modelId="{C677FD32-BE2A-4036-9F27-3E37EA1CDD68}" type="pres">
      <dgm:prSet presAssocID="{C93662DE-E61C-4DFF-8213-8716B110D037}" presName="node" presStyleLbl="node1" presStyleIdx="1" presStyleCnt="5">
        <dgm:presLayoutVars>
          <dgm:bulletEnabled val="1"/>
        </dgm:presLayoutVars>
      </dgm:prSet>
      <dgm:spPr/>
    </dgm:pt>
    <dgm:pt modelId="{D662091B-2165-43A2-A621-6EB62BDD3AEE}" type="pres">
      <dgm:prSet presAssocID="{F91A07F5-86C2-4BB4-93BE-3C62392209E6}" presName="sibTrans" presStyleLbl="sibTrans2D1" presStyleIdx="1" presStyleCnt="4"/>
      <dgm:spPr/>
    </dgm:pt>
    <dgm:pt modelId="{EDA5177E-CACD-441A-9807-74274AA2DE8B}" type="pres">
      <dgm:prSet presAssocID="{F91A07F5-86C2-4BB4-93BE-3C62392209E6}" presName="connectorText" presStyleLbl="sibTrans2D1" presStyleIdx="1" presStyleCnt="4"/>
      <dgm:spPr/>
    </dgm:pt>
    <dgm:pt modelId="{ACC9F08C-E823-49F4-8A2A-DE1926C296DD}" type="pres">
      <dgm:prSet presAssocID="{D371B82F-6B15-4E72-84A0-AE1C97175372}" presName="node" presStyleLbl="node1" presStyleIdx="2" presStyleCnt="5">
        <dgm:presLayoutVars>
          <dgm:bulletEnabled val="1"/>
        </dgm:presLayoutVars>
      </dgm:prSet>
      <dgm:spPr/>
    </dgm:pt>
    <dgm:pt modelId="{35DFC475-3F21-46F8-BF51-0BCF40467343}" type="pres">
      <dgm:prSet presAssocID="{AE30B644-CB2F-4394-BBAA-9C0CE9F8DD82}" presName="sibTrans" presStyleLbl="sibTrans2D1" presStyleIdx="2" presStyleCnt="4"/>
      <dgm:spPr/>
    </dgm:pt>
    <dgm:pt modelId="{A56D89CE-2CFA-4911-9BA1-A1F3F28EF1DA}" type="pres">
      <dgm:prSet presAssocID="{AE30B644-CB2F-4394-BBAA-9C0CE9F8DD82}" presName="connectorText" presStyleLbl="sibTrans2D1" presStyleIdx="2" presStyleCnt="4"/>
      <dgm:spPr/>
    </dgm:pt>
    <dgm:pt modelId="{712BC573-C0FA-473D-91C6-299A48CC45E7}" type="pres">
      <dgm:prSet presAssocID="{36C318A0-FB7E-4262-B141-CD842A748621}" presName="node" presStyleLbl="node1" presStyleIdx="3" presStyleCnt="5">
        <dgm:presLayoutVars>
          <dgm:bulletEnabled val="1"/>
        </dgm:presLayoutVars>
      </dgm:prSet>
      <dgm:spPr/>
    </dgm:pt>
    <dgm:pt modelId="{2B834224-F3C7-4DAB-B69D-3CC27CEC3EC3}" type="pres">
      <dgm:prSet presAssocID="{EE7EAB3A-7BA9-4281-9A25-BBCFB11E3629}" presName="sibTrans" presStyleLbl="sibTrans2D1" presStyleIdx="3" presStyleCnt="4"/>
      <dgm:spPr/>
    </dgm:pt>
    <dgm:pt modelId="{5F85ABA3-31D3-4C0A-B3BE-FC43F1FCAC92}" type="pres">
      <dgm:prSet presAssocID="{EE7EAB3A-7BA9-4281-9A25-BBCFB11E3629}" presName="connectorText" presStyleLbl="sibTrans2D1" presStyleIdx="3" presStyleCnt="4"/>
      <dgm:spPr/>
    </dgm:pt>
    <dgm:pt modelId="{98D430CC-3962-49C3-B081-E9ECF56E47A6}" type="pres">
      <dgm:prSet presAssocID="{E769F7BB-FCA0-4372-ACCA-0D789EAEA456}" presName="node" presStyleLbl="node1" presStyleIdx="4" presStyleCnt="5">
        <dgm:presLayoutVars>
          <dgm:bulletEnabled val="1"/>
        </dgm:presLayoutVars>
      </dgm:prSet>
      <dgm:spPr/>
    </dgm:pt>
  </dgm:ptLst>
  <dgm:cxnLst>
    <dgm:cxn modelId="{1EF0C60A-24E0-430A-907D-81BDDE84BC62}" type="presOf" srcId="{F91A07F5-86C2-4BB4-93BE-3C62392209E6}" destId="{D662091B-2165-43A2-A621-6EB62BDD3AEE}" srcOrd="0" destOrd="0" presId="urn:microsoft.com/office/officeart/2005/8/layout/process1"/>
    <dgm:cxn modelId="{824DBB14-C2AA-4F95-AB0D-A545F8C0A00F}" srcId="{FEEA9CA2-5F7A-4D84-9DDD-9FD0FEBE4AAE}" destId="{E769F7BB-FCA0-4372-ACCA-0D789EAEA456}" srcOrd="4" destOrd="0" parTransId="{D148F199-02A8-4AD5-83E7-8C1B71287312}" sibTransId="{2BC28F96-E360-4E0F-9E62-36A6E7A6C942}"/>
    <dgm:cxn modelId="{E30D9915-3EC2-415B-AF37-4051523A55F2}" srcId="{FEEA9CA2-5F7A-4D84-9DDD-9FD0FEBE4AAE}" destId="{D371B82F-6B15-4E72-84A0-AE1C97175372}" srcOrd="2" destOrd="0" parTransId="{FD13CECA-071E-4DF8-A6BE-379B2C1A6EC1}" sibTransId="{AE30B644-CB2F-4394-BBAA-9C0CE9F8DD82}"/>
    <dgm:cxn modelId="{71FA331E-EE2B-46D0-8129-E9027F08D811}" type="presOf" srcId="{AE30B644-CB2F-4394-BBAA-9C0CE9F8DD82}" destId="{A56D89CE-2CFA-4911-9BA1-A1F3F28EF1DA}" srcOrd="1" destOrd="0" presId="urn:microsoft.com/office/officeart/2005/8/layout/process1"/>
    <dgm:cxn modelId="{E164B522-FB3E-4238-92B1-30CF6F28FE6D}" type="presOf" srcId="{F91A07F5-86C2-4BB4-93BE-3C62392209E6}" destId="{EDA5177E-CACD-441A-9807-74274AA2DE8B}" srcOrd="1" destOrd="0" presId="urn:microsoft.com/office/officeart/2005/8/layout/process1"/>
    <dgm:cxn modelId="{9C320425-A2A4-45CF-A5D8-A000B3964D34}" type="presOf" srcId="{EE7EAB3A-7BA9-4281-9A25-BBCFB11E3629}" destId="{2B834224-F3C7-4DAB-B69D-3CC27CEC3EC3}" srcOrd="0" destOrd="0" presId="urn:microsoft.com/office/officeart/2005/8/layout/process1"/>
    <dgm:cxn modelId="{11DA3026-5DEF-46A0-B959-D06E6A1C79EF}" srcId="{FEEA9CA2-5F7A-4D84-9DDD-9FD0FEBE4AAE}" destId="{0AA1D7BA-A41A-41EE-9764-8EA3DAFA990C}" srcOrd="0" destOrd="0" parTransId="{95682FE4-3AA9-48F3-83CC-4E727AEB0EAD}" sibTransId="{683955CE-C02A-43BA-A961-80E0DFE1C3FF}"/>
    <dgm:cxn modelId="{D9DF802B-1A8E-4D3B-AE2D-0C7BC084E7BC}" type="presOf" srcId="{E769F7BB-FCA0-4372-ACCA-0D789EAEA456}" destId="{98D430CC-3962-49C3-B081-E9ECF56E47A6}" srcOrd="0" destOrd="0" presId="urn:microsoft.com/office/officeart/2005/8/layout/process1"/>
    <dgm:cxn modelId="{6ED6743A-0350-41AA-9BD0-67200D9B756D}" type="presOf" srcId="{36C318A0-FB7E-4262-B141-CD842A748621}" destId="{712BC573-C0FA-473D-91C6-299A48CC45E7}" srcOrd="0" destOrd="0" presId="urn:microsoft.com/office/officeart/2005/8/layout/process1"/>
    <dgm:cxn modelId="{EAEC2F40-2F5E-4503-B7A3-7190DAAF91E3}" type="presOf" srcId="{FEEA9CA2-5F7A-4D84-9DDD-9FD0FEBE4AAE}" destId="{3EF7C6A6-0BAC-43B9-93AC-3FA11984227A}" srcOrd="0" destOrd="0" presId="urn:microsoft.com/office/officeart/2005/8/layout/process1"/>
    <dgm:cxn modelId="{BD28F845-3BBE-4E4E-974C-55E91980E2F4}" type="presOf" srcId="{AE30B644-CB2F-4394-BBAA-9C0CE9F8DD82}" destId="{35DFC475-3F21-46F8-BF51-0BCF40467343}" srcOrd="0" destOrd="0" presId="urn:microsoft.com/office/officeart/2005/8/layout/process1"/>
    <dgm:cxn modelId="{63B87179-49D0-4D5D-8543-CA7F217BA9BC}" type="presOf" srcId="{C93662DE-E61C-4DFF-8213-8716B110D037}" destId="{C677FD32-BE2A-4036-9F27-3E37EA1CDD68}" srcOrd="0" destOrd="0" presId="urn:microsoft.com/office/officeart/2005/8/layout/process1"/>
    <dgm:cxn modelId="{603E7D90-B906-447E-9285-678A1DF1C0FA}" type="presOf" srcId="{EE7EAB3A-7BA9-4281-9A25-BBCFB11E3629}" destId="{5F85ABA3-31D3-4C0A-B3BE-FC43F1FCAC92}" srcOrd="1" destOrd="0" presId="urn:microsoft.com/office/officeart/2005/8/layout/process1"/>
    <dgm:cxn modelId="{9A35DCAD-D762-43F2-AD99-EE6E7F564177}" type="presOf" srcId="{0AA1D7BA-A41A-41EE-9764-8EA3DAFA990C}" destId="{C06FA550-84B8-4764-AD91-96DFF638E12D}" srcOrd="0" destOrd="0" presId="urn:microsoft.com/office/officeart/2005/8/layout/process1"/>
    <dgm:cxn modelId="{E1EFA2BC-641F-4F96-A307-A9FA26D80683}" srcId="{FEEA9CA2-5F7A-4D84-9DDD-9FD0FEBE4AAE}" destId="{C93662DE-E61C-4DFF-8213-8716B110D037}" srcOrd="1" destOrd="0" parTransId="{86E68052-FE47-49A4-BC87-2DF3E7405721}" sibTransId="{F91A07F5-86C2-4BB4-93BE-3C62392209E6}"/>
    <dgm:cxn modelId="{4338ABC4-497C-4BA0-A6EE-391CB7AFF8BE}" type="presOf" srcId="{683955CE-C02A-43BA-A961-80E0DFE1C3FF}" destId="{D8CE15E2-BD1F-4CF9-B106-DCF823014C78}" srcOrd="0" destOrd="0" presId="urn:microsoft.com/office/officeart/2005/8/layout/process1"/>
    <dgm:cxn modelId="{445028C7-FEB5-4F19-A328-BF845C8CCB1C}" type="presOf" srcId="{D371B82F-6B15-4E72-84A0-AE1C97175372}" destId="{ACC9F08C-E823-49F4-8A2A-DE1926C296DD}" srcOrd="0" destOrd="0" presId="urn:microsoft.com/office/officeart/2005/8/layout/process1"/>
    <dgm:cxn modelId="{1893F6D8-E02E-4344-82C2-C3858ADC9498}" srcId="{FEEA9CA2-5F7A-4D84-9DDD-9FD0FEBE4AAE}" destId="{36C318A0-FB7E-4262-B141-CD842A748621}" srcOrd="3" destOrd="0" parTransId="{3DD51856-8FFA-444F-9C95-07BF7D8286DE}" sibTransId="{EE7EAB3A-7BA9-4281-9A25-BBCFB11E3629}"/>
    <dgm:cxn modelId="{B3C14CFF-BC9F-4316-895B-DA00611A04C1}" type="presOf" srcId="{683955CE-C02A-43BA-A961-80E0DFE1C3FF}" destId="{40FF077F-288B-4724-B119-80EA720F770D}" srcOrd="1" destOrd="0" presId="urn:microsoft.com/office/officeart/2005/8/layout/process1"/>
    <dgm:cxn modelId="{E9D6A9F6-8C06-4EDB-A1C0-024CC43ECC4B}" type="presParOf" srcId="{3EF7C6A6-0BAC-43B9-93AC-3FA11984227A}" destId="{C06FA550-84B8-4764-AD91-96DFF638E12D}" srcOrd="0" destOrd="0" presId="urn:microsoft.com/office/officeart/2005/8/layout/process1"/>
    <dgm:cxn modelId="{1CEFB0E6-269C-4518-9D46-78809EDAC85F}" type="presParOf" srcId="{3EF7C6A6-0BAC-43B9-93AC-3FA11984227A}" destId="{D8CE15E2-BD1F-4CF9-B106-DCF823014C78}" srcOrd="1" destOrd="0" presId="urn:microsoft.com/office/officeart/2005/8/layout/process1"/>
    <dgm:cxn modelId="{F3645976-C609-4DDF-A85C-768DC90099BA}" type="presParOf" srcId="{D8CE15E2-BD1F-4CF9-B106-DCF823014C78}" destId="{40FF077F-288B-4724-B119-80EA720F770D}" srcOrd="0" destOrd="0" presId="urn:microsoft.com/office/officeart/2005/8/layout/process1"/>
    <dgm:cxn modelId="{E7A91D2C-912D-4E16-9C94-B0BE29FEF210}" type="presParOf" srcId="{3EF7C6A6-0BAC-43B9-93AC-3FA11984227A}" destId="{C677FD32-BE2A-4036-9F27-3E37EA1CDD68}" srcOrd="2" destOrd="0" presId="urn:microsoft.com/office/officeart/2005/8/layout/process1"/>
    <dgm:cxn modelId="{755670AB-DF27-4666-84EB-A5539610975F}" type="presParOf" srcId="{3EF7C6A6-0BAC-43B9-93AC-3FA11984227A}" destId="{D662091B-2165-43A2-A621-6EB62BDD3AEE}" srcOrd="3" destOrd="0" presId="urn:microsoft.com/office/officeart/2005/8/layout/process1"/>
    <dgm:cxn modelId="{48282A64-6B26-4E63-A766-6570C3E7AFC1}" type="presParOf" srcId="{D662091B-2165-43A2-A621-6EB62BDD3AEE}" destId="{EDA5177E-CACD-441A-9807-74274AA2DE8B}" srcOrd="0" destOrd="0" presId="urn:microsoft.com/office/officeart/2005/8/layout/process1"/>
    <dgm:cxn modelId="{8B8E5624-68C4-49AE-955E-3B9DD8003292}" type="presParOf" srcId="{3EF7C6A6-0BAC-43B9-93AC-3FA11984227A}" destId="{ACC9F08C-E823-49F4-8A2A-DE1926C296DD}" srcOrd="4" destOrd="0" presId="urn:microsoft.com/office/officeart/2005/8/layout/process1"/>
    <dgm:cxn modelId="{7492F74E-12CD-445D-B40E-AC501F41D403}" type="presParOf" srcId="{3EF7C6A6-0BAC-43B9-93AC-3FA11984227A}" destId="{35DFC475-3F21-46F8-BF51-0BCF40467343}" srcOrd="5" destOrd="0" presId="urn:microsoft.com/office/officeart/2005/8/layout/process1"/>
    <dgm:cxn modelId="{94E069E0-A72A-4217-A966-19DC3878A70A}" type="presParOf" srcId="{35DFC475-3F21-46F8-BF51-0BCF40467343}" destId="{A56D89CE-2CFA-4911-9BA1-A1F3F28EF1DA}" srcOrd="0" destOrd="0" presId="urn:microsoft.com/office/officeart/2005/8/layout/process1"/>
    <dgm:cxn modelId="{8D8F961D-5445-4EE8-ACD3-8A1C9DE5329C}" type="presParOf" srcId="{3EF7C6A6-0BAC-43B9-93AC-3FA11984227A}" destId="{712BC573-C0FA-473D-91C6-299A48CC45E7}" srcOrd="6" destOrd="0" presId="urn:microsoft.com/office/officeart/2005/8/layout/process1"/>
    <dgm:cxn modelId="{A5E0F596-72BE-41D2-BCF0-9626AEA05A46}" type="presParOf" srcId="{3EF7C6A6-0BAC-43B9-93AC-3FA11984227A}" destId="{2B834224-F3C7-4DAB-B69D-3CC27CEC3EC3}" srcOrd="7" destOrd="0" presId="urn:microsoft.com/office/officeart/2005/8/layout/process1"/>
    <dgm:cxn modelId="{EABAC581-C4F1-4F10-80F6-8A7E5FB2CF7C}" type="presParOf" srcId="{2B834224-F3C7-4DAB-B69D-3CC27CEC3EC3}" destId="{5F85ABA3-31D3-4C0A-B3BE-FC43F1FCAC92}" srcOrd="0" destOrd="0" presId="urn:microsoft.com/office/officeart/2005/8/layout/process1"/>
    <dgm:cxn modelId="{16D26D9F-80E7-45C9-B2D5-05EC31320BF2}" type="presParOf" srcId="{3EF7C6A6-0BAC-43B9-93AC-3FA11984227A}" destId="{98D430CC-3962-49C3-B081-E9ECF56E47A6}" srcOrd="8"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E95E7-63EB-481C-978F-63DFC4FD6CBE}">
      <dsp:nvSpPr>
        <dsp:cNvPr id="0" name=""/>
        <dsp:cNvSpPr/>
      </dsp:nvSpPr>
      <dsp:spPr>
        <a:xfrm>
          <a:off x="5380"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ntra ID is the new Identity Store</a:t>
          </a:r>
        </a:p>
      </dsp:txBody>
      <dsp:txXfrm>
        <a:off x="52702" y="572401"/>
        <a:ext cx="1573246" cy="1521043"/>
      </dsp:txXfrm>
    </dsp:sp>
    <dsp:sp modelId="{3B4C6131-076D-45F1-88F4-02356ED824C9}">
      <dsp:nvSpPr>
        <dsp:cNvPr id="0" name=""/>
        <dsp:cNvSpPr/>
      </dsp:nvSpPr>
      <dsp:spPr>
        <a:xfrm>
          <a:off x="1840059"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208831"/>
        <a:ext cx="247514" cy="248182"/>
      </dsp:txXfrm>
    </dsp:sp>
    <dsp:sp modelId="{47FC5327-4896-4D12-9751-B5EACBE9A0C6}">
      <dsp:nvSpPr>
        <dsp:cNvPr id="0" name=""/>
        <dsp:cNvSpPr/>
      </dsp:nvSpPr>
      <dsp:spPr>
        <a:xfrm>
          <a:off x="2340427"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ser Management goes to Entra ID or AD DS</a:t>
          </a:r>
        </a:p>
      </dsp:txBody>
      <dsp:txXfrm>
        <a:off x="2387749" y="572401"/>
        <a:ext cx="1573246" cy="1521043"/>
      </dsp:txXfrm>
    </dsp:sp>
    <dsp:sp modelId="{5C56AFEB-E0BD-4497-A27F-43F0B80C5546}">
      <dsp:nvSpPr>
        <dsp:cNvPr id="0" name=""/>
        <dsp:cNvSpPr/>
      </dsp:nvSpPr>
      <dsp:spPr>
        <a:xfrm>
          <a:off x="4175106"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208831"/>
        <a:ext cx="247514" cy="248182"/>
      </dsp:txXfrm>
    </dsp:sp>
    <dsp:sp modelId="{19CD5919-DB07-4534-A448-546C21079016}">
      <dsp:nvSpPr>
        <dsp:cNvPr id="0" name=""/>
        <dsp:cNvSpPr/>
      </dsp:nvSpPr>
      <dsp:spPr>
        <a:xfrm>
          <a:off x="4675473"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onnect HR sources to Microsoft Entra</a:t>
          </a:r>
        </a:p>
      </dsp:txBody>
      <dsp:txXfrm>
        <a:off x="4722795" y="572401"/>
        <a:ext cx="1573246" cy="1521043"/>
      </dsp:txXfrm>
    </dsp:sp>
    <dsp:sp modelId="{0A1DB0F6-2F24-4BB5-B8AC-9F9184C798A6}">
      <dsp:nvSpPr>
        <dsp:cNvPr id="0" name=""/>
        <dsp:cNvSpPr/>
      </dsp:nvSpPr>
      <dsp:spPr>
        <a:xfrm>
          <a:off x="6510153"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208831"/>
        <a:ext cx="247514" cy="248182"/>
      </dsp:txXfrm>
    </dsp:sp>
    <dsp:sp modelId="{3E55DD66-4056-477D-A1B7-A975AD21EB77}">
      <dsp:nvSpPr>
        <dsp:cNvPr id="0" name=""/>
        <dsp:cNvSpPr/>
      </dsp:nvSpPr>
      <dsp:spPr>
        <a:xfrm>
          <a:off x="7010520"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onfigure SSO and provision identities for Apps</a:t>
          </a:r>
        </a:p>
      </dsp:txBody>
      <dsp:txXfrm>
        <a:off x="7057842" y="572401"/>
        <a:ext cx="1573246" cy="1521043"/>
      </dsp:txXfrm>
    </dsp:sp>
    <dsp:sp modelId="{5483DB0A-FEDD-4E55-9772-82300006D595}">
      <dsp:nvSpPr>
        <dsp:cNvPr id="0" name=""/>
        <dsp:cNvSpPr/>
      </dsp:nvSpPr>
      <dsp:spPr>
        <a:xfrm>
          <a:off x="8845200"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208831"/>
        <a:ext cx="247514" cy="248182"/>
      </dsp:txXfrm>
    </dsp:sp>
    <dsp:sp modelId="{64317E09-F7B0-44E5-887A-A6199548AA1C}">
      <dsp:nvSpPr>
        <dsp:cNvPr id="0" name=""/>
        <dsp:cNvSpPr/>
      </dsp:nvSpPr>
      <dsp:spPr>
        <a:xfrm>
          <a:off x="9345567"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igrate End User Self-Service to Microsoft Entra</a:t>
          </a:r>
        </a:p>
      </dsp:txBody>
      <dsp:txXfrm>
        <a:off x="9392889" y="572401"/>
        <a:ext cx="1573246" cy="15210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E95E7-63EB-481C-978F-63DFC4FD6CBE}">
      <dsp:nvSpPr>
        <dsp:cNvPr id="0" name=""/>
        <dsp:cNvSpPr/>
      </dsp:nvSpPr>
      <dsp:spPr>
        <a:xfrm>
          <a:off x="5380"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igrate Access Lifecycle Management</a:t>
          </a:r>
        </a:p>
      </dsp:txBody>
      <dsp:txXfrm>
        <a:off x="52895" y="569295"/>
        <a:ext cx="1572860" cy="1527254"/>
      </dsp:txXfrm>
    </dsp:sp>
    <dsp:sp modelId="{3B4C6131-076D-45F1-88F4-02356ED824C9}">
      <dsp:nvSpPr>
        <dsp:cNvPr id="0" name=""/>
        <dsp:cNvSpPr/>
      </dsp:nvSpPr>
      <dsp:spPr>
        <a:xfrm>
          <a:off x="1840059"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208831"/>
        <a:ext cx="247514" cy="248182"/>
      </dsp:txXfrm>
    </dsp:sp>
    <dsp:sp modelId="{36D0B491-74CF-41C2-B17E-1C67B658D6E8}">
      <dsp:nvSpPr>
        <dsp:cNvPr id="0" name=""/>
        <dsp:cNvSpPr/>
      </dsp:nvSpPr>
      <dsp:spPr>
        <a:xfrm>
          <a:off x="2340427"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Reporting</a:t>
          </a:r>
        </a:p>
      </dsp:txBody>
      <dsp:txXfrm>
        <a:off x="2387942" y="569295"/>
        <a:ext cx="1572860" cy="1527254"/>
      </dsp:txXfrm>
    </dsp:sp>
    <dsp:sp modelId="{9036F6DA-4EBA-4CBE-B4BB-62D2C99D240A}">
      <dsp:nvSpPr>
        <dsp:cNvPr id="0" name=""/>
        <dsp:cNvSpPr/>
      </dsp:nvSpPr>
      <dsp:spPr>
        <a:xfrm>
          <a:off x="4175106"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208831"/>
        <a:ext cx="247514" cy="248182"/>
      </dsp:txXfrm>
    </dsp:sp>
    <dsp:sp modelId="{19CD5919-DB07-4534-A448-546C21079016}">
      <dsp:nvSpPr>
        <dsp:cNvPr id="0" name=""/>
        <dsp:cNvSpPr/>
      </dsp:nvSpPr>
      <dsp:spPr>
        <a:xfrm>
          <a:off x="4675473"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dentity Federation (B2B)</a:t>
          </a:r>
        </a:p>
      </dsp:txBody>
      <dsp:txXfrm>
        <a:off x="4722988" y="569295"/>
        <a:ext cx="1572860" cy="1527254"/>
      </dsp:txXfrm>
    </dsp:sp>
    <dsp:sp modelId="{0A1DB0F6-2F24-4BB5-B8AC-9F9184C798A6}">
      <dsp:nvSpPr>
        <dsp:cNvPr id="0" name=""/>
        <dsp:cNvSpPr/>
      </dsp:nvSpPr>
      <dsp:spPr>
        <a:xfrm>
          <a:off x="6510153"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208831"/>
        <a:ext cx="247514" cy="248182"/>
      </dsp:txXfrm>
    </dsp:sp>
    <dsp:sp modelId="{212F3FB6-284A-4FE5-86EB-A8F832085858}">
      <dsp:nvSpPr>
        <dsp:cNvPr id="0" name=""/>
        <dsp:cNvSpPr/>
      </dsp:nvSpPr>
      <dsp:spPr>
        <a:xfrm>
          <a:off x="7010520"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se Entra ID or AD DS to provide Directory Services</a:t>
          </a:r>
        </a:p>
      </dsp:txBody>
      <dsp:txXfrm>
        <a:off x="7058035" y="569295"/>
        <a:ext cx="1572860" cy="1527254"/>
      </dsp:txXfrm>
    </dsp:sp>
    <dsp:sp modelId="{912F06BD-4E82-4847-9A1D-066A0A5A20DB}">
      <dsp:nvSpPr>
        <dsp:cNvPr id="0" name=""/>
        <dsp:cNvSpPr/>
      </dsp:nvSpPr>
      <dsp:spPr>
        <a:xfrm>
          <a:off x="8845200"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208831"/>
        <a:ext cx="247514" cy="248182"/>
      </dsp:txXfrm>
    </dsp:sp>
    <dsp:sp modelId="{64317E09-F7B0-44E5-887A-A6199548AA1C}">
      <dsp:nvSpPr>
        <dsp:cNvPr id="0" name=""/>
        <dsp:cNvSpPr/>
      </dsp:nvSpPr>
      <dsp:spPr>
        <a:xfrm>
          <a:off x="9345567"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xtend Microsoft Entra via Low-Code interfaces</a:t>
          </a:r>
        </a:p>
      </dsp:txBody>
      <dsp:txXfrm>
        <a:off x="9393082" y="569295"/>
        <a:ext cx="1572860" cy="15272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B3478B-D400-421E-A170-2E435404CC7F}">
      <dsp:nvSpPr>
        <dsp:cNvPr id="0" name=""/>
        <dsp:cNvSpPr/>
      </dsp:nvSpPr>
      <dsp:spPr>
        <a:xfrm>
          <a:off x="4842"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nable Lifecycle Workflows for J/M/L</a:t>
          </a:r>
        </a:p>
      </dsp:txBody>
      <dsp:txXfrm>
        <a:off x="43791" y="660381"/>
        <a:ext cx="2039246" cy="1251933"/>
      </dsp:txXfrm>
    </dsp:sp>
    <dsp:sp modelId="{283742B7-51EE-482D-950E-06B7D444D8BB}">
      <dsp:nvSpPr>
        <dsp:cNvPr id="0" name=""/>
        <dsp:cNvSpPr/>
      </dsp:nvSpPr>
      <dsp:spPr>
        <a:xfrm>
          <a:off x="2333701"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333701" y="1128832"/>
        <a:ext cx="314184" cy="315031"/>
      </dsp:txXfrm>
    </dsp:sp>
    <dsp:sp modelId="{EB814740-6ED3-4944-9794-A9E4F22F32A1}">
      <dsp:nvSpPr>
        <dsp:cNvPr id="0" name=""/>
        <dsp:cNvSpPr/>
      </dsp:nvSpPr>
      <dsp:spPr>
        <a:xfrm>
          <a:off x="2968845"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nable Self-Service User Management capabilities</a:t>
          </a:r>
        </a:p>
      </dsp:txBody>
      <dsp:txXfrm>
        <a:off x="3007794" y="660381"/>
        <a:ext cx="2039246" cy="1251933"/>
      </dsp:txXfrm>
    </dsp:sp>
    <dsp:sp modelId="{20ECB18E-6920-4683-9359-3CA70AA8F276}">
      <dsp:nvSpPr>
        <dsp:cNvPr id="0" name=""/>
        <dsp:cNvSpPr/>
      </dsp:nvSpPr>
      <dsp:spPr>
        <a:xfrm>
          <a:off x="5297704"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297704" y="1128832"/>
        <a:ext cx="314184" cy="315031"/>
      </dsp:txXfrm>
    </dsp:sp>
    <dsp:sp modelId="{E663A378-0C2A-4A51-A6B6-BA51135D47C3}">
      <dsp:nvSpPr>
        <dsp:cNvPr id="0" name=""/>
        <dsp:cNvSpPr/>
      </dsp:nvSpPr>
      <dsp:spPr>
        <a:xfrm>
          <a:off x="5932847"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reate your reports and workbooks</a:t>
          </a:r>
        </a:p>
      </dsp:txBody>
      <dsp:txXfrm>
        <a:off x="5971796" y="660381"/>
        <a:ext cx="2039246" cy="1251933"/>
      </dsp:txXfrm>
    </dsp:sp>
    <dsp:sp modelId="{76E03B4F-068C-45DF-A402-8F58FE6988D8}">
      <dsp:nvSpPr>
        <dsp:cNvPr id="0" name=""/>
        <dsp:cNvSpPr/>
      </dsp:nvSpPr>
      <dsp:spPr>
        <a:xfrm>
          <a:off x="8261707"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261707" y="1128832"/>
        <a:ext cx="314184" cy="315031"/>
      </dsp:txXfrm>
    </dsp:sp>
    <dsp:sp modelId="{305A8527-3565-49D2-A3BE-72ACD0268DEE}">
      <dsp:nvSpPr>
        <dsp:cNvPr id="0" name=""/>
        <dsp:cNvSpPr/>
      </dsp:nvSpPr>
      <dsp:spPr>
        <a:xfrm>
          <a:off x="8896850"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Deploy any customization or low-code extension</a:t>
          </a:r>
        </a:p>
      </dsp:txBody>
      <dsp:txXfrm>
        <a:off x="8935799" y="660381"/>
        <a:ext cx="2039246" cy="12519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6FA550-84B8-4764-AD91-96DFF638E12D}">
      <dsp:nvSpPr>
        <dsp:cNvPr id="0" name=""/>
        <dsp:cNvSpPr/>
      </dsp:nvSpPr>
      <dsp:spPr>
        <a:xfrm>
          <a:off x="5380"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onnect your HR Sources to Microsoft Entra</a:t>
          </a:r>
        </a:p>
      </dsp:txBody>
      <dsp:txXfrm>
        <a:off x="52895" y="522720"/>
        <a:ext cx="1572860" cy="1527254"/>
      </dsp:txXfrm>
    </dsp:sp>
    <dsp:sp modelId="{D8CE15E2-BD1F-4CF9-B106-DCF823014C78}">
      <dsp:nvSpPr>
        <dsp:cNvPr id="0" name=""/>
        <dsp:cNvSpPr/>
      </dsp:nvSpPr>
      <dsp:spPr>
        <a:xfrm>
          <a:off x="1840059"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162256"/>
        <a:ext cx="247514" cy="248182"/>
      </dsp:txXfrm>
    </dsp:sp>
    <dsp:sp modelId="{C677FD32-BE2A-4036-9F27-3E37EA1CDD68}">
      <dsp:nvSpPr>
        <dsp:cNvPr id="0" name=""/>
        <dsp:cNvSpPr/>
      </dsp:nvSpPr>
      <dsp:spPr>
        <a:xfrm>
          <a:off x="2340427"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Map how each app integrate with Microsoft Entra </a:t>
          </a:r>
        </a:p>
      </dsp:txBody>
      <dsp:txXfrm>
        <a:off x="2387942" y="522720"/>
        <a:ext cx="1572860" cy="1527254"/>
      </dsp:txXfrm>
    </dsp:sp>
    <dsp:sp modelId="{D662091B-2165-43A2-A621-6EB62BDD3AEE}">
      <dsp:nvSpPr>
        <dsp:cNvPr id="0" name=""/>
        <dsp:cNvSpPr/>
      </dsp:nvSpPr>
      <dsp:spPr>
        <a:xfrm>
          <a:off x="4175106"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162256"/>
        <a:ext cx="247514" cy="248182"/>
      </dsp:txXfrm>
    </dsp:sp>
    <dsp:sp modelId="{ACC9F08C-E823-49F4-8A2A-DE1926C296DD}">
      <dsp:nvSpPr>
        <dsp:cNvPr id="0" name=""/>
        <dsp:cNvSpPr/>
      </dsp:nvSpPr>
      <dsp:spPr>
        <a:xfrm>
          <a:off x="4675473"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stablish order for Apps Integration </a:t>
          </a:r>
        </a:p>
      </dsp:txBody>
      <dsp:txXfrm>
        <a:off x="4722988" y="522720"/>
        <a:ext cx="1572860" cy="1527254"/>
      </dsp:txXfrm>
    </dsp:sp>
    <dsp:sp modelId="{35DFC475-3F21-46F8-BF51-0BCF40467343}">
      <dsp:nvSpPr>
        <dsp:cNvPr id="0" name=""/>
        <dsp:cNvSpPr/>
      </dsp:nvSpPr>
      <dsp:spPr>
        <a:xfrm>
          <a:off x="6510153"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162256"/>
        <a:ext cx="247514" cy="248182"/>
      </dsp:txXfrm>
    </dsp:sp>
    <dsp:sp modelId="{712BC573-C0FA-473D-91C6-299A48CC45E7}">
      <dsp:nvSpPr>
        <dsp:cNvPr id="0" name=""/>
        <dsp:cNvSpPr/>
      </dsp:nvSpPr>
      <dsp:spPr>
        <a:xfrm>
          <a:off x="7010520"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onnect your Apps for Provisioning and SSO</a:t>
          </a:r>
        </a:p>
      </dsp:txBody>
      <dsp:txXfrm>
        <a:off x="7058035" y="522720"/>
        <a:ext cx="1572860" cy="1527254"/>
      </dsp:txXfrm>
    </dsp:sp>
    <dsp:sp modelId="{2B834224-F3C7-4DAB-B69D-3CC27CEC3EC3}">
      <dsp:nvSpPr>
        <dsp:cNvPr id="0" name=""/>
        <dsp:cNvSpPr/>
      </dsp:nvSpPr>
      <dsp:spPr>
        <a:xfrm>
          <a:off x="8845200"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162256"/>
        <a:ext cx="247514" cy="248182"/>
      </dsp:txXfrm>
    </dsp:sp>
    <dsp:sp modelId="{98D430CC-3962-49C3-B081-E9ECF56E47A6}">
      <dsp:nvSpPr>
        <dsp:cNvPr id="0" name=""/>
        <dsp:cNvSpPr/>
      </dsp:nvSpPr>
      <dsp:spPr>
        <a:xfrm>
          <a:off x="9345567"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Set up Access Management for Apps using Entra ID</a:t>
          </a:r>
        </a:p>
      </dsp:txBody>
      <dsp:txXfrm>
        <a:off x="9393082" y="522720"/>
        <a:ext cx="1572860" cy="152725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91801D-0FD8-4212-905A-1D4FAD63E19F}" type="datetimeFigureOut">
              <a:rPr lang="en-US" smtClean="0"/>
              <a:t>10/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67DA39-93E0-4381-8415-914455E3BFD9}" type="slidenum">
              <a:rPr lang="en-US" smtClean="0"/>
              <a:t>‹#›</a:t>
            </a:fld>
            <a:endParaRPr lang="en-US"/>
          </a:p>
        </p:txBody>
      </p:sp>
    </p:spTree>
    <p:extLst>
      <p:ext uri="{BB962C8B-B14F-4D97-AF65-F5344CB8AC3E}">
        <p14:creationId xmlns:p14="http://schemas.microsoft.com/office/powerpoint/2010/main" val="3033669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2</a:t>
            </a:fld>
            <a:endParaRPr lang="en-US"/>
          </a:p>
        </p:txBody>
      </p:sp>
    </p:spTree>
    <p:extLst>
      <p:ext uri="{BB962C8B-B14F-4D97-AF65-F5344CB8AC3E}">
        <p14:creationId xmlns:p14="http://schemas.microsoft.com/office/powerpoint/2010/main" val="1733411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18</a:t>
            </a:fld>
            <a:endParaRPr lang="en-US"/>
          </a:p>
        </p:txBody>
      </p:sp>
    </p:spTree>
    <p:extLst>
      <p:ext uri="{BB962C8B-B14F-4D97-AF65-F5344CB8AC3E}">
        <p14:creationId xmlns:p14="http://schemas.microsoft.com/office/powerpoint/2010/main" val="46089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672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906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557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5919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5296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9316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9712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30</a:t>
            </a:fld>
            <a:endParaRPr lang="en-US"/>
          </a:p>
        </p:txBody>
      </p:sp>
    </p:spTree>
    <p:extLst>
      <p:ext uri="{BB962C8B-B14F-4D97-AF65-F5344CB8AC3E}">
        <p14:creationId xmlns:p14="http://schemas.microsoft.com/office/powerpoint/2010/main" val="1328727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88503A-40A3-4BE8-9D3C-6E9A1DC61B3F}"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6626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820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4630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0378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242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9001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44033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41</a:t>
            </a:fld>
            <a:endParaRPr lang="en-US"/>
          </a:p>
        </p:txBody>
      </p:sp>
    </p:spTree>
    <p:extLst>
      <p:ext uri="{BB962C8B-B14F-4D97-AF65-F5344CB8AC3E}">
        <p14:creationId xmlns:p14="http://schemas.microsoft.com/office/powerpoint/2010/main" val="366356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0130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0409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292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9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31/2024 4:3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231669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31/2024 4:3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37728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1/2024 4: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122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1.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5.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5.xml"/><Relationship Id="rId5" Type="http://schemas.openxmlformats.org/officeDocument/2006/relationships/image" Target="../media/image60.jpeg"/><Relationship Id="rId4" Type="http://schemas.openxmlformats.org/officeDocument/2006/relationships/image" Target="../media/image59.jpe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6" Type="http://schemas.openxmlformats.org/officeDocument/2006/relationships/image" Target="../media/image61.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50.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5.xml"/><Relationship Id="rId6" Type="http://schemas.openxmlformats.org/officeDocument/2006/relationships/image" Target="../media/image61.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4" Type="http://schemas.openxmlformats.org/officeDocument/2006/relationships/image" Target="../media/image50.jpe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6.xml"/><Relationship Id="rId4" Type="http://schemas.openxmlformats.org/officeDocument/2006/relationships/image" Target="../media/image56.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60.jpeg"/><Relationship Id="rId4" Type="http://schemas.openxmlformats.org/officeDocument/2006/relationships/image" Target="../media/image59.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6" Type="http://schemas.openxmlformats.org/officeDocument/2006/relationships/image" Target="../media/image61.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4" Type="http://schemas.openxmlformats.org/officeDocument/2006/relationships/image" Target="../media/image50.jpe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jpeg"/><Relationship Id="rId1" Type="http://schemas.openxmlformats.org/officeDocument/2006/relationships/slideMaster" Target="../slideMasters/slideMaster6.xml"/><Relationship Id="rId6" Type="http://schemas.openxmlformats.org/officeDocument/2006/relationships/image" Target="../media/image61.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07961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9733860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4201" y="1201416"/>
            <a:ext cx="2062492" cy="1842493"/>
          </a:xfrm>
          <a:prstGeom prst="rect">
            <a:avLst/>
          </a:prstGeom>
        </p:spPr>
      </p:pic>
    </p:spTree>
    <p:extLst>
      <p:ext uri="{BB962C8B-B14F-4D97-AF65-F5344CB8AC3E}">
        <p14:creationId xmlns:p14="http://schemas.microsoft.com/office/powerpoint/2010/main" val="368580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4110181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64167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977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7573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9033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3551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3154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Title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5322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2669080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71222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4081445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1" y="2241551"/>
            <a:ext cx="6921500" cy="2374900"/>
          </a:xfrm>
          <a:prstGeom prst="rect">
            <a:avLst/>
          </a:prstGeom>
        </p:spPr>
      </p:pic>
    </p:spTree>
    <p:extLst>
      <p:ext uri="{BB962C8B-B14F-4D97-AF65-F5344CB8AC3E}">
        <p14:creationId xmlns:p14="http://schemas.microsoft.com/office/powerpoint/2010/main" val="362439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443994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78482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785492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13886"/>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4818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584642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32969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214513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0474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cxnSp>
        <p:nvCxnSpPr>
          <p:cNvPr id="4" name="Straight Connector 3">
            <a:extLst>
              <a:ext uri="{FF2B5EF4-FFF2-40B4-BE49-F238E27FC236}">
                <a16:creationId xmlns:a16="http://schemas.microsoft.com/office/drawing/2014/main" id="{A94C8ADA-D545-E9EE-8B00-83E404A2DA58}"/>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933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cxnSp>
        <p:nvCxnSpPr>
          <p:cNvPr id="2" name="Straight Connector 1">
            <a:extLst>
              <a:ext uri="{FF2B5EF4-FFF2-40B4-BE49-F238E27FC236}">
                <a16:creationId xmlns:a16="http://schemas.microsoft.com/office/drawing/2014/main" id="{554507DC-6865-3127-2977-19FAD9E0D7CF}"/>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6456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cxnSp>
        <p:nvCxnSpPr>
          <p:cNvPr id="2" name="Straight Connector 1">
            <a:extLst>
              <a:ext uri="{FF2B5EF4-FFF2-40B4-BE49-F238E27FC236}">
                <a16:creationId xmlns:a16="http://schemas.microsoft.com/office/drawing/2014/main" id="{D7A64171-B5CE-6906-D89C-4B03050BFD40}"/>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567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762592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51302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95478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535494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laceholder 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holding a computer&#10;&#10;Description automatically generated">
            <a:extLst>
              <a:ext uri="{FF2B5EF4-FFF2-40B4-BE49-F238E27FC236}">
                <a16:creationId xmlns:a16="http://schemas.microsoft.com/office/drawing/2014/main" id="{D39F2EE8-D681-A378-5585-83A9B51542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5334002" y="0"/>
            <a:ext cx="6857998" cy="6847300"/>
          </a:xfrm>
          <a:custGeom>
            <a:avLst/>
            <a:gdLst>
              <a:gd name="connsiteX0" fmla="*/ 2556519 w 6857998"/>
              <a:gd name="connsiteY0" fmla="*/ 0 h 6847300"/>
              <a:gd name="connsiteX1" fmla="*/ 6857998 w 6857998"/>
              <a:gd name="connsiteY1" fmla="*/ 0 h 6847300"/>
              <a:gd name="connsiteX2" fmla="*/ 6857998 w 6857998"/>
              <a:gd name="connsiteY2" fmla="*/ 6847300 h 6847300"/>
              <a:gd name="connsiteX3" fmla="*/ 2505637 w 6857998"/>
              <a:gd name="connsiteY3" fmla="*/ 6847300 h 6847300"/>
              <a:gd name="connsiteX4" fmla="*/ 276871 w 6857998"/>
              <a:gd name="connsiteY4" fmla="*/ 4188461 h 6847300"/>
              <a:gd name="connsiteX5" fmla="*/ 13 w 6857998"/>
              <a:gd name="connsiteY5" fmla="*/ 3418842 h 6847300"/>
              <a:gd name="connsiteX6" fmla="*/ 283221 w 6857998"/>
              <a:gd name="connsiteY6" fmla="*/ 2651761 h 684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7998" h="6847300">
                <a:moveTo>
                  <a:pt x="2556519" y="0"/>
                </a:moveTo>
                <a:lnTo>
                  <a:pt x="6857998" y="0"/>
                </a:lnTo>
                <a:lnTo>
                  <a:pt x="6857998" y="6847300"/>
                </a:lnTo>
                <a:lnTo>
                  <a:pt x="2505637" y="6847300"/>
                </a:lnTo>
                <a:lnTo>
                  <a:pt x="276871" y="4188461"/>
                </a:lnTo>
                <a:cubicBezTo>
                  <a:pt x="91451" y="3975100"/>
                  <a:pt x="-1258" y="3696971"/>
                  <a:pt x="13" y="3418842"/>
                </a:cubicBezTo>
                <a:cubicBezTo>
                  <a:pt x="1284" y="3140710"/>
                  <a:pt x="96533" y="2863852"/>
                  <a:pt x="283221" y="2651761"/>
                </a:cubicBezTo>
                <a:close/>
              </a:path>
            </a:pathLst>
          </a:custGeom>
        </p:spPr>
      </p:pic>
      <p:pic>
        <p:nvPicPr>
          <p:cNvPr id="157" name="Picture 156" descr="Graphical user interface&#10;&#10;Description automatically generated with medium confidence">
            <a:extLst>
              <a:ext uri="{FF2B5EF4-FFF2-40B4-BE49-F238E27FC236}">
                <a16:creationId xmlns:a16="http://schemas.microsoft.com/office/drawing/2014/main" id="{5556328C-9C39-269E-50AD-1562F47B8733}"/>
              </a:ext>
            </a:extLst>
          </p:cNvPr>
          <p:cNvPicPr>
            <a:picLocks noChangeAspect="1"/>
          </p:cNvPicPr>
          <p:nvPr userDrawn="1"/>
        </p:nvPicPr>
        <p:blipFill>
          <a:blip r:embed="rId3"/>
          <a:stretch>
            <a:fillRect/>
          </a:stretch>
        </p:blipFill>
        <p:spPr>
          <a:xfrm>
            <a:off x="286968" y="295726"/>
            <a:ext cx="2868793" cy="866324"/>
          </a:xfrm>
          <a:prstGeom prst="rect">
            <a:avLst/>
          </a:prstGeom>
        </p:spPr>
      </p:pic>
    </p:spTree>
    <p:extLst>
      <p:ext uri="{BB962C8B-B14F-4D97-AF65-F5344CB8AC3E}">
        <p14:creationId xmlns:p14="http://schemas.microsoft.com/office/powerpoint/2010/main" val="1792061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0 L 0.01367 -0.00069 " pathEditMode="relative" rAng="0" ptsTypes="AA">
                                      <p:cBhvr>
                                        <p:cTn id="9" dur="500" spd="-100000" fill="hold"/>
                                        <p:tgtEl>
                                          <p:spTgt spid="4"/>
                                        </p:tgtEl>
                                        <p:attrNameLst>
                                          <p:attrName>ppt_x</p:attrName>
                                          <p:attrName>ppt_y</p:attrName>
                                        </p:attrNameLst>
                                      </p:cBhvr>
                                      <p:rCtr x="677" y="-46"/>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0"/>
                                  </p:stCondLst>
                                  <p:childTnLst>
                                    <p:animMotion origin="layout" path="M 1.66667E-6 2.96296E-6 L -0.0293 0.00023 " pathEditMode="relative" rAng="0" ptsTypes="AA">
                                      <p:cBhvr>
                                        <p:cTn id="14" dur="500" spd="-100000" fill="hold"/>
                                        <p:tgtEl>
                                          <p:spTgt spid="2"/>
                                        </p:tgtEl>
                                        <p:attrNameLst>
                                          <p:attrName>ppt_x</p:attrName>
                                          <p:attrName>ppt_y</p:attrName>
                                        </p:attrNameLst>
                                      </p:cBhvr>
                                      <p:rCtr x="-1471" y="0"/>
                                    </p:animMotion>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0"/>
                                  </p:stCondLst>
                                  <p:childTnLst>
                                    <p:animMotion origin="layout" path="M 1.66667E-6 2.96296E-6 L -0.0293 0.00023 " pathEditMode="relative" rAng="0" ptsTypes="AA">
                                      <p:cBhvr>
                                        <p:cTn id="19" dur="500" spd="-100000" fill="hold"/>
                                        <p:tgtEl>
                                          <p:spTgt spid="5"/>
                                        </p:tgtEl>
                                        <p:attrNameLst>
                                          <p:attrName>ppt_x</p:attrName>
                                          <p:attrName>ppt_y</p:attrName>
                                        </p:attrNameLst>
                                      </p:cBhvr>
                                      <p:rCtr x="-147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57080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878310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3826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562146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03667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434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42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4849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795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23667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566134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7694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03534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10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gradFill>
                  <a:gsLst>
                    <a:gs pos="2917">
                      <a:srgbClr val="282828"/>
                    </a:gs>
                    <a:gs pos="100000">
                      <a:srgbClr val="282828"/>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77363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649195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8777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245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30735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92711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09991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888199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57811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12143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5149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01734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219173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505935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90067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24042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24948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1619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5838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0757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9291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2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1620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2810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8475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76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493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6638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27118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609965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055467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7748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951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426799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185263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6521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4416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78242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277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621181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150639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quare Photo placeholder Dk Blu">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5" name="Freeform: Shape 14">
            <a:extLst>
              <a:ext uri="{FF2B5EF4-FFF2-40B4-BE49-F238E27FC236}">
                <a16:creationId xmlns:a16="http://schemas.microsoft.com/office/drawing/2014/main" id="{CF8C9580-02A6-7780-BAD2-71CDF0F38AD0}"/>
              </a:ext>
              <a:ext uri="{C183D7F6-B498-43B3-948B-1728B52AA6E4}">
                <adec:decorative xmlns:adec="http://schemas.microsoft.com/office/drawing/2017/decorative" val="1"/>
              </a:ext>
            </a:extLst>
          </p:cNvPr>
          <p:cNvSpPr/>
          <p:nvPr userDrawn="1"/>
        </p:nvSpPr>
        <p:spPr bwMode="auto">
          <a:xfrm>
            <a:off x="4471933" y="0"/>
            <a:ext cx="7718798" cy="6858000"/>
          </a:xfrm>
          <a:custGeom>
            <a:avLst/>
            <a:gdLst>
              <a:gd name="connsiteX0" fmla="*/ 7717115 w 7718798"/>
              <a:gd name="connsiteY0" fmla="*/ 3997496 h 6858000"/>
              <a:gd name="connsiteX1" fmla="*/ 7717115 w 7718798"/>
              <a:gd name="connsiteY1" fmla="*/ 6858000 h 6858000"/>
              <a:gd name="connsiteX2" fmla="*/ 6351101 w 7718798"/>
              <a:gd name="connsiteY2" fmla="*/ 6858000 h 6858000"/>
              <a:gd name="connsiteX3" fmla="*/ 7718798 w 7718798"/>
              <a:gd name="connsiteY3" fmla="*/ 1513385 h 6858000"/>
              <a:gd name="connsiteX4" fmla="*/ 7718798 w 7718798"/>
              <a:gd name="connsiteY4" fmla="*/ 3277879 h 6858000"/>
              <a:gd name="connsiteX5" fmla="*/ 6006971 w 7718798"/>
              <a:gd name="connsiteY5" fmla="*/ 6858000 h 6858000"/>
              <a:gd name="connsiteX6" fmla="*/ 4228141 w 7718798"/>
              <a:gd name="connsiteY6" fmla="*/ 6858000 h 6858000"/>
              <a:gd name="connsiteX7" fmla="*/ 6343605 w 7718798"/>
              <a:gd name="connsiteY7" fmla="*/ 2430181 h 6858000"/>
              <a:gd name="connsiteX8" fmla="*/ 7718798 w 7718798"/>
              <a:gd name="connsiteY8" fmla="*/ 1513385 h 6858000"/>
              <a:gd name="connsiteX9" fmla="*/ 3714563 w 7718798"/>
              <a:gd name="connsiteY9" fmla="*/ 0 h 6858000"/>
              <a:gd name="connsiteX10" fmla="*/ 5140315 w 7718798"/>
              <a:gd name="connsiteY10" fmla="*/ 0 h 6858000"/>
              <a:gd name="connsiteX11" fmla="*/ 5195930 w 7718798"/>
              <a:gd name="connsiteY11" fmla="*/ 25279 h 6858000"/>
              <a:gd name="connsiteX12" fmla="*/ 6046997 w 7718798"/>
              <a:gd name="connsiteY12" fmla="*/ 2290301 h 6858000"/>
              <a:gd name="connsiteX13" fmla="*/ 3864313 w 7718798"/>
              <a:gd name="connsiteY13" fmla="*/ 6858000 h 6858000"/>
              <a:gd name="connsiteX14" fmla="*/ 2103174 w 7718798"/>
              <a:gd name="connsiteY14" fmla="*/ 6858000 h 6858000"/>
              <a:gd name="connsiteX15" fmla="*/ 4612817 w 7718798"/>
              <a:gd name="connsiteY15" fmla="*/ 1604390 h 6858000"/>
              <a:gd name="connsiteX16" fmla="*/ 4575743 w 7718798"/>
              <a:gd name="connsiteY16" fmla="*/ 1321263 h 6858000"/>
              <a:gd name="connsiteX17" fmla="*/ 4333062 w 7718798"/>
              <a:gd name="connsiteY17" fmla="*/ 1471252 h 6858000"/>
              <a:gd name="connsiteX18" fmla="*/ 1760465 w 7718798"/>
              <a:gd name="connsiteY18" fmla="*/ 6858000 h 6858000"/>
              <a:gd name="connsiteX19" fmla="*/ 0 w 7718798"/>
              <a:gd name="connsiteY19" fmla="*/ 6858000 h 6858000"/>
              <a:gd name="connsiteX20" fmla="*/ 0 w 7718798"/>
              <a:gd name="connsiteY20" fmla="*/ 6818494 h 6858000"/>
              <a:gd name="connsiteX21" fmla="*/ 2885400 w 7718798"/>
              <a:gd name="connsiteY21" fmla="*/ 778601 h 6858000"/>
              <a:gd name="connsiteX22" fmla="*/ 3584375 w 7718798"/>
              <a:gd name="connsiteY22" fmla="*/ 621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18798" h="6858000">
                <a:moveTo>
                  <a:pt x="7717115" y="3997496"/>
                </a:moveTo>
                <a:lnTo>
                  <a:pt x="7717115" y="6858000"/>
                </a:lnTo>
                <a:lnTo>
                  <a:pt x="6351101" y="6858000"/>
                </a:lnTo>
                <a:close/>
                <a:moveTo>
                  <a:pt x="7718798" y="1513385"/>
                </a:moveTo>
                <a:lnTo>
                  <a:pt x="7718798" y="3277879"/>
                </a:lnTo>
                <a:lnTo>
                  <a:pt x="6006971" y="6858000"/>
                </a:lnTo>
                <a:lnTo>
                  <a:pt x="4228141" y="6858000"/>
                </a:lnTo>
                <a:lnTo>
                  <a:pt x="6343605" y="2430181"/>
                </a:lnTo>
                <a:cubicBezTo>
                  <a:pt x="6601455" y="1890890"/>
                  <a:pt x="7142433" y="1567314"/>
                  <a:pt x="7718798" y="1513385"/>
                </a:cubicBezTo>
                <a:close/>
                <a:moveTo>
                  <a:pt x="3714563" y="0"/>
                </a:moveTo>
                <a:lnTo>
                  <a:pt x="5140315" y="0"/>
                </a:lnTo>
                <a:lnTo>
                  <a:pt x="5195930" y="25279"/>
                </a:lnTo>
                <a:cubicBezTo>
                  <a:pt x="6030143" y="424692"/>
                  <a:pt x="6444723" y="1456085"/>
                  <a:pt x="6046997" y="2290301"/>
                </a:cubicBezTo>
                <a:lnTo>
                  <a:pt x="3864313" y="6858000"/>
                </a:lnTo>
                <a:lnTo>
                  <a:pt x="2103174" y="6858000"/>
                </a:lnTo>
                <a:lnTo>
                  <a:pt x="4612817" y="1604390"/>
                </a:lnTo>
                <a:cubicBezTo>
                  <a:pt x="4670119" y="1484737"/>
                  <a:pt x="4695399" y="1378562"/>
                  <a:pt x="4575743" y="1321263"/>
                </a:cubicBezTo>
                <a:cubicBezTo>
                  <a:pt x="4457773" y="1265649"/>
                  <a:pt x="4390361" y="1351597"/>
                  <a:pt x="4333062" y="1471252"/>
                </a:cubicBezTo>
                <a:lnTo>
                  <a:pt x="1760465" y="6858000"/>
                </a:lnTo>
                <a:lnTo>
                  <a:pt x="0" y="6858000"/>
                </a:lnTo>
                <a:lnTo>
                  <a:pt x="0" y="6818494"/>
                </a:lnTo>
                <a:lnTo>
                  <a:pt x="2885400" y="778601"/>
                </a:lnTo>
                <a:cubicBezTo>
                  <a:pt x="3035813" y="461557"/>
                  <a:pt x="3286868" y="219350"/>
                  <a:pt x="3584375" y="62141"/>
                </a:cubicBezTo>
                <a:close/>
              </a:path>
            </a:pathLst>
          </a:custGeom>
          <a:blipFill dpi="0" rotWithShape="0">
            <a:blip r:embed="rId2" cstate="screen">
              <a:extLst>
                <a:ext uri="{28A0092B-C50C-407E-A947-70E740481C1C}">
                  <a14:useLocalDpi xmlns:a14="http://schemas.microsoft.com/office/drawing/2010/main"/>
                </a:ext>
              </a:extLst>
            </a:blip>
            <a:srcRect/>
            <a:stretch>
              <a:fillRect l="-905" t="3" r="-70355" b="-2574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Graphical user interface&#10;&#10;Description automatically generated with medium confidence">
            <a:extLst>
              <a:ext uri="{FF2B5EF4-FFF2-40B4-BE49-F238E27FC236}">
                <a16:creationId xmlns:a16="http://schemas.microsoft.com/office/drawing/2014/main" id="{9BCF0108-8D81-3B77-1D30-3CB977DEECF7}"/>
              </a:ext>
            </a:extLst>
          </p:cNvPr>
          <p:cNvPicPr>
            <a:picLocks noChangeAspect="1"/>
          </p:cNvPicPr>
          <p:nvPr userDrawn="1"/>
        </p:nvPicPr>
        <p:blipFill>
          <a:blip r:embed="rId3"/>
          <a:stretch>
            <a:fillRect/>
          </a:stretch>
        </p:blipFill>
        <p:spPr>
          <a:xfrm>
            <a:off x="286968" y="295726"/>
            <a:ext cx="2868793" cy="866324"/>
          </a:xfrm>
          <a:prstGeom prst="rect">
            <a:avLst/>
          </a:prstGeom>
        </p:spPr>
      </p:pic>
    </p:spTree>
    <p:extLst>
      <p:ext uri="{BB962C8B-B14F-4D97-AF65-F5344CB8AC3E}">
        <p14:creationId xmlns:p14="http://schemas.microsoft.com/office/powerpoint/2010/main" val="3761485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grpId="1" nodeType="withEffect">
                                  <p:stCondLst>
                                    <p:cond delay="0"/>
                                  </p:stCondLst>
                                  <p:childTnLst>
                                    <p:animMotion origin="layout" path="M 5E-6 3.7037E-7 L 0.01368 -0.00069 " pathEditMode="relative" rAng="0" ptsTypes="AA">
                                      <p:cBhvr>
                                        <p:cTn id="9" dur="500" spd="-100000" fill="hold"/>
                                        <p:tgtEl>
                                          <p:spTgt spid="15"/>
                                        </p:tgtEl>
                                        <p:attrNameLst>
                                          <p:attrName>ppt_x</p:attrName>
                                          <p:attrName>ppt_y</p:attrName>
                                        </p:attrNameLst>
                                      </p:cBhvr>
                                      <p:rCtr x="67700" y="-46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a:prstGeom prst="rect">
            <a:avLst/>
          </a:prstGeom>
        </p:spPr>
        <p:txBody>
          <a:bodyPr lIns="0" tIns="0" rIns="0" bIns="0">
            <a:spAutoFit/>
          </a:bodyPr>
          <a:lstStyle>
            <a:lvl1pPr marL="0" indent="0">
              <a:buNone/>
              <a:defRPr sz="20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875321707"/>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8572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11264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532182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854942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896178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546292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07921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41139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2049947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925452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410086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11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260741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6314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127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985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665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6625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469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8572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7062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7121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51016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596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4880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21207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85215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47295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67385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786682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1924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492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60542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84864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15262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4469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2967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4196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089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2253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90552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3833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641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065338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000335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617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3093852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97228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295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69300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576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946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422435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696157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34509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57953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08422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527338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01360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125711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264992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1942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3551989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3525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877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440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228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1077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329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989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437728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5462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0416076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87489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796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73951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50513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99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484658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5656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34475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0346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52849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125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45080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1957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70566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73238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54953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5363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19822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544165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84567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08783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81387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49535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7808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31350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17083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4527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674222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50357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310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61139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326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66716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4214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61912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942828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373489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33242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855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670114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283747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153848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156416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471048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194170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081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7327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37361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61135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474393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37531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0999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6653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45075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430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7368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173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556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268133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379264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397244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227707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741037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3069636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108341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21590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996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04105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682746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5681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934635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75911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F0B36AB3-F2F2-4517-90AB-67A5750EC1F6}"/>
              </a:ext>
            </a:extLst>
          </p:cNvPr>
          <p:cNvPicPr>
            <a:picLocks noChangeAspect="1"/>
          </p:cNvPicPr>
          <p:nvPr/>
        </p:nvPicPr>
        <p:blipFill>
          <a:blip r:embed="rId2"/>
          <a:stretch>
            <a:fillRect/>
          </a:stretch>
        </p:blipFill>
        <p:spPr bwMode="black">
          <a:xfrm>
            <a:off x="549201" y="1177602"/>
            <a:ext cx="1452594" cy="1300518"/>
          </a:xfrm>
          <a:prstGeom prst="rect">
            <a:avLst/>
          </a:prstGeom>
        </p:spPr>
      </p:pic>
    </p:spTree>
    <p:extLst>
      <p:ext uri="{BB962C8B-B14F-4D97-AF65-F5344CB8AC3E}">
        <p14:creationId xmlns:p14="http://schemas.microsoft.com/office/powerpoint/2010/main" val="1658400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40126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894702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45034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7144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43355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6373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259762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5829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57647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66552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095329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018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9908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250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169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101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20350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6790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7316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60000"/>
            <a:ext cx="11018520" cy="553998"/>
          </a:xfrm>
        </p:spPr>
        <p:txBody>
          <a:bodyPr/>
          <a:lstStyle/>
          <a:p>
            <a:r>
              <a:rPr lang="en-US"/>
              <a:t>Click to edit Master title style</a:t>
            </a:r>
          </a:p>
        </p:txBody>
      </p:sp>
    </p:spTree>
    <p:extLst>
      <p:ext uri="{BB962C8B-B14F-4D97-AF65-F5344CB8AC3E}">
        <p14:creationId xmlns:p14="http://schemas.microsoft.com/office/powerpoint/2010/main" val="4015900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03903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1452594" cy="1300518"/>
          </a:xfrm>
          <a:prstGeom prst="rect">
            <a:avLst/>
          </a:prstGeom>
        </p:spPr>
      </p:pic>
    </p:spTree>
    <p:extLst>
      <p:ext uri="{BB962C8B-B14F-4D97-AF65-F5344CB8AC3E}">
        <p14:creationId xmlns:p14="http://schemas.microsoft.com/office/powerpoint/2010/main" val="1347722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906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831589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29738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5093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499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57238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520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096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7536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440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41111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509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85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4278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1898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774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49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2763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373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16625485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bg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2753717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4030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bg1"/>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3906668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46138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98946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13861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036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3959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715700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596878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85256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979060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8723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559206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89136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7589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66465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62871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3690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4062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05936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56792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2237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44058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6237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8281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07329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7705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8184878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bg1"/>
                </a:solidFill>
              </a:defRPr>
            </a:lvl1pPr>
          </a:lstStyle>
          <a:p>
            <a:r>
              <a:rPr lang="en-US"/>
              <a:t>Add quote text here</a:t>
            </a:r>
          </a:p>
        </p:txBody>
      </p:sp>
    </p:spTree>
    <p:extLst>
      <p:ext uri="{BB962C8B-B14F-4D97-AF65-F5344CB8AC3E}">
        <p14:creationId xmlns:p14="http://schemas.microsoft.com/office/powerpoint/2010/main" val="6390225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7690208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6438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4335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69191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01066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74445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7269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5237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105756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9756242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4662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2826010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95137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tx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135547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bg1"/>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157665697"/>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5431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bg1"/>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60928269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bg1"/>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49743316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060812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0274051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1202978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2"/>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20179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57942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77934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888492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6</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921539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3393365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0270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2"/>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7</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95881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8</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607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9</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14999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0</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7094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0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15629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20313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5898946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296245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363414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567356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775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928375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877060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6042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0381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3973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990186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6802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ection Name</a:t>
            </a:r>
          </a:p>
        </p:txBody>
      </p:sp>
    </p:spTree>
    <p:extLst>
      <p:ext uri="{BB962C8B-B14F-4D97-AF65-F5344CB8AC3E}">
        <p14:creationId xmlns:p14="http://schemas.microsoft.com/office/powerpoint/2010/main" val="925158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806217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167326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5992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049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4894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4892908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73262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97307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6286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5814339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189999299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ext Left third Graphic Right with subtitl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8DB1BF-EDF5-4B27-1E6F-F67901719146}"/>
              </a:ext>
            </a:extLst>
          </p:cNvPr>
          <p:cNvSpPr/>
          <p:nvPr userDrawn="1"/>
        </p:nvSpPr>
        <p:spPr bwMode="auto">
          <a:xfrm>
            <a:off x="0" y="0"/>
            <a:ext cx="487680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19100" y="457200"/>
            <a:ext cx="4114800" cy="1107996"/>
          </a:xfrm>
        </p:spPr>
        <p:txBody>
          <a:bodyPr wrap="square">
            <a:spAutoFit/>
          </a:bodyPr>
          <a:lstStyle>
            <a:lvl1pPr>
              <a:defRPr>
                <a:solidFill>
                  <a:schemeClr val="bg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419100" y="2057398"/>
            <a:ext cx="4114800" cy="738664"/>
          </a:xfrm>
        </p:spPr>
        <p:txBody>
          <a:bodyPr anchor="t"/>
          <a:lstStyle>
            <a:lvl1pPr marL="0" indent="0">
              <a:spcBef>
                <a:spcPts val="0"/>
              </a:spcBef>
              <a:buNone/>
              <a:defRPr sz="2400">
                <a:solidFill>
                  <a:schemeClr val="bg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419100" y="2705098"/>
            <a:ext cx="4114800" cy="1668149"/>
          </a:xfrm>
        </p:spPr>
        <p:txBody>
          <a:bodyPr wrap="square">
            <a:spAutoFit/>
          </a:bodyPr>
          <a:lstStyle>
            <a:lvl1pPr marL="171450" indent="-171450">
              <a:lnSpc>
                <a:spcPct val="90000"/>
              </a:lnSpc>
              <a:spcBef>
                <a:spcPts val="600"/>
              </a:spcBef>
              <a:spcAft>
                <a:spcPts val="600"/>
              </a:spcAft>
              <a:defRPr lang="en-US" sz="2000" dirty="0">
                <a:solidFill>
                  <a:schemeClr val="bg1"/>
                </a:solidFill>
              </a:defRPr>
            </a:lvl1pPr>
            <a:lvl2pPr marL="342900" indent="-171450">
              <a:lnSpc>
                <a:spcPct val="90000"/>
              </a:lnSpc>
              <a:spcBef>
                <a:spcPts val="600"/>
              </a:spcBef>
              <a:spcAft>
                <a:spcPts val="600"/>
              </a:spcAft>
              <a:defRPr lang="en-US" sz="1800" dirty="0">
                <a:solidFill>
                  <a:schemeClr val="bg1"/>
                </a:solidFill>
              </a:defRPr>
            </a:lvl2pPr>
            <a:lvl3pPr marL="514350" indent="-171450">
              <a:lnSpc>
                <a:spcPct val="90000"/>
              </a:lnSpc>
              <a:spcBef>
                <a:spcPts val="600"/>
              </a:spcBef>
              <a:spcAft>
                <a:spcPts val="600"/>
              </a:spcAft>
              <a:defRPr lang="en-US" sz="1400" dirty="0">
                <a:solidFill>
                  <a:schemeClr val="bg1"/>
                </a:solidFill>
              </a:defRPr>
            </a:lvl3pPr>
            <a:lvl4pPr marL="666750" indent="-152400">
              <a:lnSpc>
                <a:spcPct val="90000"/>
              </a:lnSpc>
              <a:spcBef>
                <a:spcPts val="600"/>
              </a:spcBef>
              <a:spcAft>
                <a:spcPts val="600"/>
              </a:spcAft>
              <a:defRPr lang="en-US" sz="1200" dirty="0">
                <a:solidFill>
                  <a:schemeClr val="bg1"/>
                </a:solidFill>
              </a:defRPr>
            </a:lvl4pPr>
            <a:lvl5pPr marL="793750" indent="-120650">
              <a:lnSpc>
                <a:spcPct val="90000"/>
              </a:lnSpc>
              <a:spcBef>
                <a:spcPts val="600"/>
              </a:spcBef>
              <a:spcAft>
                <a:spcPts val="600"/>
              </a:spcAft>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4F157701-21EE-274B-4A66-3C65FB4C9637}"/>
              </a:ext>
            </a:extLst>
          </p:cNvPr>
          <p:cNvSpPr>
            <a:spLocks noGrp="1"/>
          </p:cNvSpPr>
          <p:nvPr>
            <p:ph type="body" sz="quarter" idx="18" hasCustomPrompt="1"/>
          </p:nvPr>
        </p:nvSpPr>
        <p:spPr>
          <a:xfrm>
            <a:off x="419099" y="1626631"/>
            <a:ext cx="4114800" cy="369332"/>
          </a:xfrm>
        </p:spPr>
        <p:txBody>
          <a:bodyPr/>
          <a:lstStyle>
            <a:lvl1pPr marL="0" indent="0">
              <a:buNone/>
              <a:defRPr sz="24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ubtitle</a:t>
            </a:r>
          </a:p>
        </p:txBody>
      </p:sp>
    </p:spTree>
    <p:extLst>
      <p:ext uri="{BB962C8B-B14F-4D97-AF65-F5344CB8AC3E}">
        <p14:creationId xmlns:p14="http://schemas.microsoft.com/office/powerpoint/2010/main" val="26288675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637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3541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1029267797"/>
      </p:ext>
    </p:extLst>
  </p:cSld>
  <p:clrMapOvr>
    <a:masterClrMapping/>
  </p:clrMapOvr>
  <p:transition>
    <p:fade/>
  </p:transition>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33472651"/>
      </p:ext>
    </p:extLst>
  </p:cSld>
  <p:clrMapOvr>
    <a:masterClrMapping/>
  </p:clrMapOvr>
  <p:transition>
    <p:fade/>
  </p:transition>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43018168"/>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2567473"/>
      </p:ext>
    </p:extLst>
  </p:cSld>
  <p:clrMapOvr>
    <a:masterClrMapping/>
  </p:clrMapOvr>
  <p:transition>
    <p:fade/>
  </p:transition>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1357359"/>
      </p:ext>
    </p:extLst>
  </p:cSld>
  <p:clrMapOvr>
    <a:masterClrMapping/>
  </p:clrMapOvr>
  <p:transition>
    <p:fade/>
  </p:transition>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41608356"/>
      </p:ext>
    </p:extLst>
  </p:cSld>
  <p:clrMapOvr>
    <a:masterClrMapping/>
  </p:clrMapOvr>
  <p:transition>
    <p:fade/>
  </p:transition>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523761617"/>
      </p:ext>
    </p:extLst>
  </p:cSld>
  <p:clrMapOvr>
    <a:masterClrMapping/>
  </p:clrMapOvr>
  <p:transition>
    <p:fade/>
  </p:transition>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537541876"/>
      </p:ext>
    </p:extLst>
  </p:cSld>
  <p:clrMapOvr>
    <a:masterClrMapping/>
  </p:clrMapOvr>
  <p:transition>
    <p:fade/>
  </p:transition>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808239524"/>
      </p:ext>
    </p:extLst>
  </p:cSld>
  <p:clrMapOvr>
    <a:masterClrMapping/>
  </p:clrMapOvr>
  <p:transition>
    <p:fade/>
  </p:transition>
  <p:extLst>
    <p:ext uri="{DCECCB84-F9BA-43D5-87BE-67443E8EF086}">
      <p15:sldGuideLst xmlns:p15="http://schemas.microsoft.com/office/powerpoint/2012/main"/>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3071209831"/>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5625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19698784"/>
      </p:ext>
    </p:extLst>
  </p:cSld>
  <p:clrMapOvr>
    <a:masterClrMapping/>
  </p:clrMapOvr>
  <p:transition>
    <p:fade/>
  </p:transition>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34743710"/>
      </p:ext>
    </p:extLst>
  </p:cSld>
  <p:clrMapOvr>
    <a:masterClrMapping/>
  </p:clrMapOvr>
  <p:transition>
    <p:fade/>
  </p:transition>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463181874"/>
      </p:ext>
    </p:extLst>
  </p:cSld>
  <p:clrMapOvr>
    <a:masterClrMapping/>
  </p:clrMapOvr>
  <p:transition>
    <p:fade/>
  </p:transition>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20708981"/>
      </p:ext>
    </p:extLst>
  </p:cSld>
  <p:clrMapOvr>
    <a:masterClrMapping/>
  </p:clrMapOvr>
  <p:transition>
    <p:fade/>
  </p:transition>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15955467"/>
      </p:ext>
    </p:extLst>
  </p:cSld>
  <p:clrMapOvr>
    <a:masterClrMapping/>
  </p:clrMapOvr>
  <p:transition>
    <p:fade/>
  </p:transition>
  <p:extLst>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77624740"/>
      </p:ext>
    </p:extLst>
  </p:cSld>
  <p:clrMapOvr>
    <a:masterClrMapping/>
  </p:clrMapOvr>
  <p:transition>
    <p:fade/>
  </p:transition>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18435614"/>
      </p:ext>
    </p:extLst>
  </p:cSld>
  <p:clrMapOvr>
    <a:masterClrMapping/>
  </p:clrMapOvr>
  <p:transition>
    <p:fade/>
  </p:transition>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82294289"/>
      </p:ext>
    </p:extLst>
  </p:cSld>
  <p:clrMapOvr>
    <a:masterClrMapping/>
  </p:clrMapOvr>
  <p:transition>
    <p:fade/>
  </p:transition>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28826453"/>
      </p:ext>
    </p:extLst>
  </p:cSld>
  <p:clrMapOvr>
    <a:masterClrMapping/>
  </p:clrMapOvr>
  <p:transition>
    <p:fade/>
  </p:transition>
  <p:extLst>
    <p:ext uri="{DCECCB84-F9BA-43D5-87BE-67443E8EF086}">
      <p15:sldGuideLst xmlns:p15="http://schemas.microsoft.com/office/powerpoint/2012/main"/>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0757800"/>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0501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21038143"/>
      </p:ext>
    </p:extLst>
  </p:cSld>
  <p:clrMapOvr>
    <a:masterClrMapping/>
  </p:clrMapOvr>
  <p:transition>
    <p:fade/>
  </p:transition>
  <p:extLst>
    <p:ext uri="{DCECCB84-F9BA-43D5-87BE-67443E8EF086}">
      <p15:sldGuideLst xmlns:p15="http://schemas.microsoft.com/office/powerpoint/2012/main"/>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9224673"/>
      </p:ext>
    </p:extLst>
  </p:cSld>
  <p:clrMapOvr>
    <a:masterClrMapping/>
  </p:clrMapOvr>
  <p:transition>
    <p:fade/>
  </p:transition>
  <p:extLst>
    <p:ext uri="{DCECCB84-F9BA-43D5-87BE-67443E8EF086}">
      <p15:sldGuideLst xmlns:p15="http://schemas.microsoft.com/office/powerpoint/2012/main"/>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5397665"/>
      </p:ext>
    </p:extLst>
  </p:cSld>
  <p:clrMapOvr>
    <a:masterClrMapping/>
  </p:clrMapOvr>
  <p:transition>
    <p:fade/>
  </p:transition>
  <p:extLst>
    <p:ext uri="{DCECCB84-F9BA-43D5-87BE-67443E8EF086}">
      <p15:sldGuideLst xmlns:p15="http://schemas.microsoft.com/office/powerpoint/2012/main"/>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032210"/>
      </p:ext>
    </p:extLst>
  </p:cSld>
  <p:clrMapOvr>
    <a:masterClrMapping/>
  </p:clrMapOvr>
  <p:transition>
    <p:fade/>
  </p:transition>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28812375"/>
      </p:ext>
    </p:extLst>
  </p:cSld>
  <p:clrMapOvr>
    <a:masterClrMapping/>
  </p:clrMapOvr>
  <p:transition>
    <p:fade/>
  </p:transition>
  <p:extLst>
    <p:ext uri="{DCECCB84-F9BA-43D5-87BE-67443E8EF086}">
      <p15:sldGuideLst xmlns:p15="http://schemas.microsoft.com/office/powerpoint/2012/main"/>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44301441"/>
      </p:ext>
    </p:extLst>
  </p:cSld>
  <p:clrMapOvr>
    <a:masterClrMapping/>
  </p:clrMapOvr>
  <p:transition>
    <p:fade/>
  </p:transition>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54979299"/>
      </p:ext>
    </p:extLst>
  </p:cSld>
  <p:clrMapOvr>
    <a:masterClrMapping/>
  </p:clrMapOvr>
  <p:transition>
    <p:fade/>
  </p:transition>
  <p:extLst>
    <p:ext uri="{DCECCB84-F9BA-43D5-87BE-67443E8EF086}">
      <p15:sldGuideLst xmlns:p15="http://schemas.microsoft.com/office/powerpoint/2012/main"/>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2222099710"/>
      </p:ext>
    </p:extLst>
  </p:cSld>
  <p:clrMapOvr>
    <a:masterClrMapping/>
  </p:clrMapOvr>
  <p:transition>
    <p:fade/>
  </p:transition>
  <p:extLst>
    <p:ext uri="{DCECCB84-F9BA-43D5-87BE-67443E8EF086}">
      <p15:sldGuideLst xmlns:p15="http://schemas.microsoft.com/office/powerpoint/2012/main"/>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44781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4020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084726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4154651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4080686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48308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21714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85453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410940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528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180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144769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921534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2421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F540F-F269-A66F-D49E-F6326B604F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9A62BD-9BDF-3F70-9E31-7F92011D16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E50CF3-EA92-50C2-D322-FD8A5188AA2D}"/>
              </a:ext>
            </a:extLst>
          </p:cNvPr>
          <p:cNvSpPr>
            <a:spLocks noGrp="1"/>
          </p:cNvSpPr>
          <p:nvPr>
            <p:ph type="dt" sz="half" idx="10"/>
          </p:nvPr>
        </p:nvSpPr>
        <p:spPr/>
        <p:txBody>
          <a:bodyPr/>
          <a:lstStyle/>
          <a:p>
            <a:fld id="{4CF224EE-9A87-4678-9BA3-9287BC128ABE}" type="datetimeFigureOut">
              <a:rPr lang="en-US" smtClean="0"/>
              <a:t>10/31/2024</a:t>
            </a:fld>
            <a:endParaRPr lang="en-US"/>
          </a:p>
        </p:txBody>
      </p:sp>
      <p:sp>
        <p:nvSpPr>
          <p:cNvPr id="5" name="Footer Placeholder 4">
            <a:extLst>
              <a:ext uri="{FF2B5EF4-FFF2-40B4-BE49-F238E27FC236}">
                <a16:creationId xmlns:a16="http://schemas.microsoft.com/office/drawing/2014/main" id="{0CA2AD71-C503-4FEB-DE82-63D9363DFA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8BAC5E-312F-7EAD-E51C-7DE48FA0DB54}"/>
              </a:ext>
            </a:extLst>
          </p:cNvPr>
          <p:cNvSpPr>
            <a:spLocks noGrp="1"/>
          </p:cNvSpPr>
          <p:nvPr>
            <p:ph type="sldNum" sz="quarter" idx="12"/>
          </p:nvPr>
        </p:nvSpPr>
        <p:spPr/>
        <p:txBody>
          <a:bodyPr/>
          <a:lstStyle/>
          <a:p>
            <a:fld id="{383DA90A-8596-422E-B2CC-37AA4F4D85F6}" type="slidenum">
              <a:rPr lang="en-US" smtClean="0"/>
              <a:t>‹#›</a:t>
            </a:fld>
            <a:endParaRPr lang="en-US"/>
          </a:p>
        </p:txBody>
      </p:sp>
    </p:spTree>
    <p:extLst>
      <p:ext uri="{BB962C8B-B14F-4D97-AF65-F5344CB8AC3E}">
        <p14:creationId xmlns:p14="http://schemas.microsoft.com/office/powerpoint/2010/main" val="3645813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FD5A5-B2CC-F480-F089-48467E5AFE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CBDE26-4CAA-F606-CF0F-1215053120E2}"/>
              </a:ext>
            </a:extLst>
          </p:cNvPr>
          <p:cNvSpPr>
            <a:spLocks noGrp="1"/>
          </p:cNvSpPr>
          <p:nvPr>
            <p:ph type="dt" sz="half" idx="10"/>
          </p:nvPr>
        </p:nvSpPr>
        <p:spPr>
          <a:xfrm>
            <a:off x="838200" y="6356350"/>
            <a:ext cx="2743200" cy="365125"/>
          </a:xfrm>
          <a:prstGeom prst="rect">
            <a:avLst/>
          </a:prstGeom>
        </p:spPr>
        <p:txBody>
          <a:bodyPr/>
          <a:lstStyle/>
          <a:p>
            <a:fld id="{4CF224EE-9A87-4678-9BA3-9287BC128ABE}" type="datetimeFigureOut">
              <a:rPr lang="en-US" smtClean="0"/>
              <a:t>10/31/2024</a:t>
            </a:fld>
            <a:endParaRPr lang="en-US"/>
          </a:p>
        </p:txBody>
      </p:sp>
      <p:sp>
        <p:nvSpPr>
          <p:cNvPr id="4" name="Footer Placeholder 3">
            <a:extLst>
              <a:ext uri="{FF2B5EF4-FFF2-40B4-BE49-F238E27FC236}">
                <a16:creationId xmlns:a16="http://schemas.microsoft.com/office/drawing/2014/main" id="{B08804CC-63FE-30E6-0A50-F4166C34D44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D4661C73-F031-BC59-5DF2-8FB66E856313}"/>
              </a:ext>
            </a:extLst>
          </p:cNvPr>
          <p:cNvSpPr>
            <a:spLocks noGrp="1"/>
          </p:cNvSpPr>
          <p:nvPr>
            <p:ph type="sldNum" sz="quarter" idx="12"/>
          </p:nvPr>
        </p:nvSpPr>
        <p:spPr>
          <a:xfrm>
            <a:off x="8610600" y="6356350"/>
            <a:ext cx="2743200" cy="365125"/>
          </a:xfrm>
          <a:prstGeom prst="rect">
            <a:avLst/>
          </a:prstGeom>
        </p:spPr>
        <p:txBody>
          <a:bodyPr/>
          <a:lstStyle/>
          <a:p>
            <a:fld id="{383DA90A-8596-422E-B2CC-37AA4F4D85F6}" type="slidenum">
              <a:rPr lang="en-US" smtClean="0"/>
              <a:t>‹#›</a:t>
            </a:fld>
            <a:endParaRPr lang="en-US"/>
          </a:p>
        </p:txBody>
      </p:sp>
    </p:spTree>
    <p:extLst>
      <p:ext uri="{BB962C8B-B14F-4D97-AF65-F5344CB8AC3E}">
        <p14:creationId xmlns:p14="http://schemas.microsoft.com/office/powerpoint/2010/main" val="12995372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71101" y="0"/>
            <a:ext cx="7520900" cy="6858000"/>
          </a:xfrm>
          <a:prstGeom prst="rect">
            <a:avLst/>
          </a:prstGeom>
        </p:spPr>
      </p:pic>
    </p:spTree>
    <p:extLst>
      <p:ext uri="{BB962C8B-B14F-4D97-AF65-F5344CB8AC3E}">
        <p14:creationId xmlns:p14="http://schemas.microsoft.com/office/powerpoint/2010/main" val="1070250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81227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02443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val="0"/>
                </a:ext>
              </a:extLst>
            </a:blip>
            <a:srcRect/>
            <a:stretch>
              <a:fillRect/>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425505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112834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 2">
    <p:bg>
      <p:bgPr>
        <a:solidFill>
          <a:schemeClr val="accent1"/>
        </a:solidFill>
        <a:effectLst/>
      </p:bgPr>
    </p:bg>
    <p:spTree>
      <p:nvGrpSpPr>
        <p:cNvPr id="1" name=""/>
        <p:cNvGrpSpPr/>
        <p:nvPr/>
      </p:nvGrpSpPr>
      <p:grpSpPr>
        <a:xfrm>
          <a:off x="0" y="0"/>
          <a:ext cx="0" cy="0"/>
          <a:chOff x="0" y="0"/>
          <a:chExt cx="0" cy="0"/>
        </a:xfrm>
      </p:grpSpPr>
      <p:pic>
        <p:nvPicPr>
          <p:cNvPr id="9" name="Picture 8" descr="A person holding a computer&#10;&#10;Description automatically generated">
            <a:extLst>
              <a:ext uri="{FF2B5EF4-FFF2-40B4-BE49-F238E27FC236}">
                <a16:creationId xmlns:a16="http://schemas.microsoft.com/office/drawing/2014/main" id="{22A80779-8FCA-3D21-F974-E3A75B2D7B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 y="0"/>
            <a:ext cx="12211250" cy="68473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5080113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Blank 2">
    <p:bg>
      <p:bgPr>
        <a:solidFill>
          <a:schemeClr val="bg2"/>
        </a:solidFill>
        <a:effectLst/>
      </p:bgPr>
    </p:bg>
    <p:spTree>
      <p:nvGrpSpPr>
        <p:cNvPr id="1" name=""/>
        <p:cNvGrpSpPr/>
        <p:nvPr/>
      </p:nvGrpSpPr>
      <p:grpSpPr>
        <a:xfrm>
          <a:off x="0" y="0"/>
          <a:ext cx="0" cy="0"/>
          <a:chOff x="0" y="0"/>
          <a:chExt cx="0" cy="0"/>
        </a:xfrm>
      </p:grpSpPr>
      <p:pic>
        <p:nvPicPr>
          <p:cNvPr id="19" name="Picture 18" descr="A person holding a computer&#10;&#10;Description automatically generated">
            <a:extLst>
              <a:ext uri="{FF2B5EF4-FFF2-40B4-BE49-F238E27FC236}">
                <a16:creationId xmlns:a16="http://schemas.microsoft.com/office/drawing/2014/main" id="{CA0471D4-D621-B7A4-AF92-5EC1821135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5355955" y="0"/>
            <a:ext cx="6836047" cy="6858000"/>
          </a:xfrm>
          <a:custGeom>
            <a:avLst/>
            <a:gdLst>
              <a:gd name="connsiteX0" fmla="*/ 2959775 w 6836047"/>
              <a:gd name="connsiteY0" fmla="*/ 0 h 6858000"/>
              <a:gd name="connsiteX1" fmla="*/ 5626181 w 6836047"/>
              <a:gd name="connsiteY1" fmla="*/ 0 h 6858000"/>
              <a:gd name="connsiteX2" fmla="*/ 6836047 w 6836047"/>
              <a:gd name="connsiteY2" fmla="*/ 1410879 h 6858000"/>
              <a:gd name="connsiteX3" fmla="*/ 6836047 w 6836047"/>
              <a:gd name="connsiteY3" fmla="*/ 5422914 h 6858000"/>
              <a:gd name="connsiteX4" fmla="*/ 5632344 w 6836047"/>
              <a:gd name="connsiteY4" fmla="*/ 6858000 h 6858000"/>
              <a:gd name="connsiteX5" fmla="*/ 2992754 w 6836047"/>
              <a:gd name="connsiteY5" fmla="*/ 6858000 h 6858000"/>
              <a:gd name="connsiteX6" fmla="*/ 3082649 w 6836047"/>
              <a:gd name="connsiteY6" fmla="*/ 6737750 h 6858000"/>
              <a:gd name="connsiteX7" fmla="*/ 5847372 w 6836047"/>
              <a:gd name="connsiteY7" fmla="*/ 3408614 h 6858000"/>
              <a:gd name="connsiteX8" fmla="*/ 3040605 w 6836047"/>
              <a:gd name="connsiteY8" fmla="*/ 106236 h 6858000"/>
              <a:gd name="connsiteX9" fmla="*/ 0 w 6836047"/>
              <a:gd name="connsiteY9" fmla="*/ 0 h 6858000"/>
              <a:gd name="connsiteX10" fmla="*/ 2662701 w 6836047"/>
              <a:gd name="connsiteY10" fmla="*/ 0 h 6858000"/>
              <a:gd name="connsiteX11" fmla="*/ 4933868 w 6836047"/>
              <a:gd name="connsiteY11" fmla="*/ 2649272 h 6858000"/>
              <a:gd name="connsiteX12" fmla="*/ 5217984 w 6836047"/>
              <a:gd name="connsiteY12" fmla="*/ 3418807 h 6858000"/>
              <a:gd name="connsiteX13" fmla="*/ 4940238 w 6836047"/>
              <a:gd name="connsiteY13" fmla="*/ 4190891 h 6858000"/>
              <a:gd name="connsiteX14" fmla="*/ 2704537 w 6836047"/>
              <a:gd name="connsiteY14" fmla="*/ 6858000 h 6858000"/>
              <a:gd name="connsiteX15" fmla="*/ 61248 w 6836047"/>
              <a:gd name="connsiteY15" fmla="*/ 6858000 h 6858000"/>
              <a:gd name="connsiteX16" fmla="*/ 137009 w 6836047"/>
              <a:gd name="connsiteY16" fmla="*/ 6758134 h 6858000"/>
              <a:gd name="connsiteX17" fmla="*/ 2901731 w 6836047"/>
              <a:gd name="connsiteY17" fmla="*/ 3429000 h 6858000"/>
              <a:gd name="connsiteX18" fmla="*/ 94964 w 6836047"/>
              <a:gd name="connsiteY18" fmla="*/ 12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36047" h="6858000">
                <a:moveTo>
                  <a:pt x="2959775" y="0"/>
                </a:moveTo>
                <a:lnTo>
                  <a:pt x="5626181" y="0"/>
                </a:lnTo>
                <a:lnTo>
                  <a:pt x="6836047" y="1410879"/>
                </a:lnTo>
                <a:lnTo>
                  <a:pt x="6836047" y="5422914"/>
                </a:lnTo>
                <a:lnTo>
                  <a:pt x="5632344" y="6858000"/>
                </a:lnTo>
                <a:lnTo>
                  <a:pt x="2992754" y="6858000"/>
                </a:lnTo>
                <a:lnTo>
                  <a:pt x="3082649" y="6737750"/>
                </a:lnTo>
                <a:lnTo>
                  <a:pt x="5847372" y="3408614"/>
                </a:lnTo>
                <a:lnTo>
                  <a:pt x="3040605" y="106236"/>
                </a:lnTo>
                <a:close/>
                <a:moveTo>
                  <a:pt x="0" y="0"/>
                </a:moveTo>
                <a:lnTo>
                  <a:pt x="2662701" y="0"/>
                </a:lnTo>
                <a:lnTo>
                  <a:pt x="4933868" y="2649272"/>
                </a:lnTo>
                <a:cubicBezTo>
                  <a:pt x="5122429" y="2860766"/>
                  <a:pt x="5216710" y="3139786"/>
                  <a:pt x="5217984" y="3418807"/>
                </a:cubicBezTo>
                <a:cubicBezTo>
                  <a:pt x="5219258" y="3697827"/>
                  <a:pt x="5126252" y="3976848"/>
                  <a:pt x="4940238" y="4190891"/>
                </a:cubicBezTo>
                <a:lnTo>
                  <a:pt x="2704537" y="6858000"/>
                </a:lnTo>
                <a:lnTo>
                  <a:pt x="61248" y="6858000"/>
                </a:lnTo>
                <a:lnTo>
                  <a:pt x="137009" y="6758134"/>
                </a:lnTo>
                <a:lnTo>
                  <a:pt x="2901731" y="3429000"/>
                </a:lnTo>
                <a:lnTo>
                  <a:pt x="94964" y="126621"/>
                </a:ln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531457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Blank 2">
    <p:bg>
      <p:bgPr>
        <a:solidFill>
          <a:schemeClr val="accent1"/>
        </a:solidFill>
        <a:effectLst/>
      </p:bgPr>
    </p:bg>
    <p:spTree>
      <p:nvGrpSpPr>
        <p:cNvPr id="1" name=""/>
        <p:cNvGrpSpPr/>
        <p:nvPr/>
      </p:nvGrpSpPr>
      <p:grpSpPr>
        <a:xfrm>
          <a:off x="0" y="0"/>
          <a:ext cx="0" cy="0"/>
          <a:chOff x="0" y="0"/>
          <a:chExt cx="0" cy="0"/>
        </a:xfrm>
      </p:grpSpPr>
      <p:pic>
        <p:nvPicPr>
          <p:cNvPr id="19" name="Picture 18" descr="A person holding a computer&#10;&#10;Description automatically generated">
            <a:extLst>
              <a:ext uri="{FF2B5EF4-FFF2-40B4-BE49-F238E27FC236}">
                <a16:creationId xmlns:a16="http://schemas.microsoft.com/office/drawing/2014/main" id="{EC057DE9-EA1E-7D9B-C09C-59E892BE92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4746626" y="1228"/>
            <a:ext cx="7445374" cy="6886275"/>
          </a:xfrm>
          <a:custGeom>
            <a:avLst/>
            <a:gdLst>
              <a:gd name="connsiteX0" fmla="*/ 0 w 7445374"/>
              <a:gd name="connsiteY0" fmla="*/ 0 h 6886275"/>
              <a:gd name="connsiteX1" fmla="*/ 7445374 w 7445374"/>
              <a:gd name="connsiteY1" fmla="*/ 0 h 6886275"/>
              <a:gd name="connsiteX2" fmla="*/ 7445374 w 7445374"/>
              <a:gd name="connsiteY2" fmla="*/ 6886275 h 6886275"/>
              <a:gd name="connsiteX3" fmla="*/ 2236318 w 7445374"/>
              <a:gd name="connsiteY3" fmla="*/ 6886275 h 6886275"/>
              <a:gd name="connsiteX4" fmla="*/ 0 w 7445374"/>
              <a:gd name="connsiteY4" fmla="*/ 4649957 h 688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5374" h="6886275">
                <a:moveTo>
                  <a:pt x="0" y="0"/>
                </a:moveTo>
                <a:lnTo>
                  <a:pt x="7445374" y="0"/>
                </a:lnTo>
                <a:lnTo>
                  <a:pt x="7445374" y="6886275"/>
                </a:lnTo>
                <a:lnTo>
                  <a:pt x="2236318" y="6886275"/>
                </a:lnTo>
                <a:cubicBezTo>
                  <a:pt x="1001235" y="6886275"/>
                  <a:pt x="0" y="5885041"/>
                  <a:pt x="0" y="4649957"/>
                </a:cubicBez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0106756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Blank 2">
    <p:bg>
      <p:bgPr>
        <a:solidFill>
          <a:schemeClr val="bg2"/>
        </a:solidFill>
        <a:effectLst/>
      </p:bgPr>
    </p:bg>
    <p:spTree>
      <p:nvGrpSpPr>
        <p:cNvPr id="1" name=""/>
        <p:cNvGrpSpPr/>
        <p:nvPr/>
      </p:nvGrpSpPr>
      <p:grpSpPr>
        <a:xfrm>
          <a:off x="0" y="0"/>
          <a:ext cx="0" cy="0"/>
          <a:chOff x="0" y="0"/>
          <a:chExt cx="0" cy="0"/>
        </a:xfrm>
      </p:grpSpPr>
      <p:pic>
        <p:nvPicPr>
          <p:cNvPr id="3" name="Picture 2" descr="A person holding a computer&#10;&#10;Description automatically generated">
            <a:extLst>
              <a:ext uri="{FF2B5EF4-FFF2-40B4-BE49-F238E27FC236}">
                <a16:creationId xmlns:a16="http://schemas.microsoft.com/office/drawing/2014/main" id="{3802AA23-03B2-2F6F-88A5-458F59ABE09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5143501" y="0"/>
            <a:ext cx="7048499" cy="6858000"/>
          </a:xfrm>
          <a:custGeom>
            <a:avLst/>
            <a:gdLst>
              <a:gd name="connsiteX0" fmla="*/ 1892327 w 7048499"/>
              <a:gd name="connsiteY0" fmla="*/ 0 h 6858000"/>
              <a:gd name="connsiteX1" fmla="*/ 7048499 w 7048499"/>
              <a:gd name="connsiteY1" fmla="*/ 0 h 6858000"/>
              <a:gd name="connsiteX2" fmla="*/ 7048499 w 7048499"/>
              <a:gd name="connsiteY2" fmla="*/ 6858000 h 6858000"/>
              <a:gd name="connsiteX3" fmla="*/ 0 w 7048499"/>
              <a:gd name="connsiteY3" fmla="*/ 6858000 h 6858000"/>
              <a:gd name="connsiteX4" fmla="*/ 0 w 7048499"/>
              <a:gd name="connsiteY4" fmla="*/ 1892328 h 6858000"/>
              <a:gd name="connsiteX5" fmla="*/ 1892327 w 704849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48499" h="6858000">
                <a:moveTo>
                  <a:pt x="1892327" y="0"/>
                </a:moveTo>
                <a:lnTo>
                  <a:pt x="7048499" y="0"/>
                </a:lnTo>
                <a:lnTo>
                  <a:pt x="7048499" y="6858000"/>
                </a:lnTo>
                <a:lnTo>
                  <a:pt x="0" y="6858000"/>
                </a:lnTo>
                <a:lnTo>
                  <a:pt x="0" y="1892328"/>
                </a:lnTo>
                <a:cubicBezTo>
                  <a:pt x="0" y="847224"/>
                  <a:pt x="847223" y="0"/>
                  <a:pt x="1892327" y="0"/>
                </a:cubicBez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8521578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1921565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cstate="print">
              <a:extLst>
                <a:ext uri="{28A0092B-C50C-407E-A947-70E740481C1C}">
                  <a14:useLocalDpi xmlns:a14="http://schemas.microsoft.com/office/drawing/2010/main" val="0"/>
                </a:ext>
              </a:extLst>
            </a:blip>
            <a:srcRect/>
            <a:stretch>
              <a:fillRect/>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227843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1240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1783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3703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8319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779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3636513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grpSp>
        <p:nvGrpSpPr>
          <p:cNvPr id="8" name="Group 7">
            <a:extLst>
              <a:ext uri="{FF2B5EF4-FFF2-40B4-BE49-F238E27FC236}">
                <a16:creationId xmlns:a16="http://schemas.microsoft.com/office/drawing/2014/main" id="{3F56575E-46C5-45CB-AF45-BD9AB364C293}"/>
              </a:ext>
            </a:extLst>
          </p:cNvPr>
          <p:cNvGrpSpPr/>
          <p:nvPr userDrawn="1"/>
        </p:nvGrpSpPr>
        <p:grpSpPr>
          <a:xfrm>
            <a:off x="7548911" y="1040942"/>
            <a:ext cx="4356949" cy="4431669"/>
            <a:chOff x="6923554" y="3029657"/>
            <a:chExt cx="1960520" cy="1994142"/>
          </a:xfrm>
        </p:grpSpPr>
        <p:grpSp>
          <p:nvGrpSpPr>
            <p:cNvPr id="10" name="Group 9">
              <a:extLst>
                <a:ext uri="{FF2B5EF4-FFF2-40B4-BE49-F238E27FC236}">
                  <a16:creationId xmlns:a16="http://schemas.microsoft.com/office/drawing/2014/main" id="{E9B6B825-39B9-4587-B90D-0FC9EF88FBAD}"/>
                </a:ext>
              </a:extLst>
            </p:cNvPr>
            <p:cNvGrpSpPr>
              <a:grpSpLocks/>
            </p:cNvGrpSpPr>
            <p:nvPr/>
          </p:nvGrpSpPr>
          <p:grpSpPr>
            <a:xfrm>
              <a:off x="6949654" y="3063814"/>
              <a:ext cx="1911799" cy="1930327"/>
              <a:chOff x="3691709" y="1603375"/>
              <a:chExt cx="4829991" cy="4876800"/>
            </a:xfrm>
          </p:grpSpPr>
          <p:cxnSp>
            <p:nvCxnSpPr>
              <p:cNvPr id="69" name="Straight Connector 68">
                <a:extLst>
                  <a:ext uri="{FF2B5EF4-FFF2-40B4-BE49-F238E27FC236}">
                    <a16:creationId xmlns:a16="http://schemas.microsoft.com/office/drawing/2014/main" id="{4961563B-BB4D-4542-A552-1EBAE614B96F}"/>
                  </a:ext>
                </a:extLst>
              </p:cNvPr>
              <p:cNvCxnSpPr>
                <a:cxnSpLocks/>
              </p:cNvCxnSpPr>
              <p:nvPr/>
            </p:nvCxnSpPr>
            <p:spPr>
              <a:xfrm flipH="1">
                <a:off x="6886575" y="1724025"/>
                <a:ext cx="66675" cy="6000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89E95CCA-8750-4F14-B58E-D964C35D3174}"/>
                  </a:ext>
                </a:extLst>
              </p:cNvPr>
              <p:cNvGrpSpPr>
                <a:grpSpLocks/>
              </p:cNvGrpSpPr>
              <p:nvPr/>
            </p:nvGrpSpPr>
            <p:grpSpPr>
              <a:xfrm>
                <a:off x="3691709" y="1603375"/>
                <a:ext cx="4829991" cy="4876800"/>
                <a:chOff x="3691709" y="1603375"/>
                <a:chExt cx="4829991" cy="4876800"/>
              </a:xfrm>
            </p:grpSpPr>
            <p:cxnSp>
              <p:nvCxnSpPr>
                <p:cNvPr id="71" name="Straight Connector 70">
                  <a:extLst>
                    <a:ext uri="{FF2B5EF4-FFF2-40B4-BE49-F238E27FC236}">
                      <a16:creationId xmlns:a16="http://schemas.microsoft.com/office/drawing/2014/main" id="{6D5EA28A-9F17-47A0-A182-3F14EFD1A6BF}"/>
                    </a:ext>
                  </a:extLst>
                </p:cNvPr>
                <p:cNvCxnSpPr>
                  <a:cxnSpLocks/>
                </p:cNvCxnSpPr>
                <p:nvPr/>
              </p:nvCxnSpPr>
              <p:spPr>
                <a:xfrm flipH="1" flipV="1">
                  <a:off x="6881813" y="2309813"/>
                  <a:ext cx="1147762" cy="2571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ABB1A6C-5279-44CB-BA8B-491C98ADC803}"/>
                    </a:ext>
                  </a:extLst>
                </p:cNvPr>
                <p:cNvCxnSpPr>
                  <a:cxnSpLocks/>
                </p:cNvCxnSpPr>
                <p:nvPr/>
              </p:nvCxnSpPr>
              <p:spPr>
                <a:xfrm flipH="1" flipV="1">
                  <a:off x="6988175" y="5848350"/>
                  <a:ext cx="571500" cy="174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992FE20E-DA42-478D-9146-8CAE4CE0E2D1}"/>
                    </a:ext>
                  </a:extLst>
                </p:cNvPr>
                <p:cNvGrpSpPr>
                  <a:grpSpLocks/>
                </p:cNvGrpSpPr>
                <p:nvPr/>
              </p:nvGrpSpPr>
              <p:grpSpPr>
                <a:xfrm>
                  <a:off x="3691709" y="1603375"/>
                  <a:ext cx="4829991" cy="4876800"/>
                  <a:chOff x="3691709" y="1603375"/>
                  <a:chExt cx="4829991" cy="4876800"/>
                </a:xfrm>
              </p:grpSpPr>
              <p:cxnSp>
                <p:nvCxnSpPr>
                  <p:cNvPr id="74" name="Straight Connector 73">
                    <a:extLst>
                      <a:ext uri="{FF2B5EF4-FFF2-40B4-BE49-F238E27FC236}">
                        <a16:creationId xmlns:a16="http://schemas.microsoft.com/office/drawing/2014/main" id="{DAF17BF0-DCAA-496A-BD3A-318CE7743C1A}"/>
                      </a:ext>
                    </a:extLst>
                  </p:cNvPr>
                  <p:cNvCxnSpPr>
                    <a:cxnSpLocks/>
                  </p:cNvCxnSpPr>
                  <p:nvPr/>
                </p:nvCxnSpPr>
                <p:spPr>
                  <a:xfrm flipH="1" flipV="1">
                    <a:off x="5721350" y="5632767"/>
                    <a:ext cx="1273175" cy="22193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5DECA92-A027-45F2-B8A7-D9005EEDA5E2}"/>
                      </a:ext>
                    </a:extLst>
                  </p:cNvPr>
                  <p:cNvCxnSpPr>
                    <a:cxnSpLocks/>
                  </p:cNvCxnSpPr>
                  <p:nvPr/>
                </p:nvCxnSpPr>
                <p:spPr>
                  <a:xfrm flipH="1" flipV="1">
                    <a:off x="5724525" y="5629275"/>
                    <a:ext cx="409575" cy="850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A174F9A-6096-409A-9FE6-1393230D1A85}"/>
                      </a:ext>
                    </a:extLst>
                  </p:cNvPr>
                  <p:cNvCxnSpPr>
                    <a:cxnSpLocks/>
                  </p:cNvCxnSpPr>
                  <p:nvPr/>
                </p:nvCxnSpPr>
                <p:spPr>
                  <a:xfrm flipH="1">
                    <a:off x="4657725" y="5613400"/>
                    <a:ext cx="1089025" cy="342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092701D0-865E-4A2B-B40C-2456B3082CC0}"/>
                      </a:ext>
                    </a:extLst>
                  </p:cNvPr>
                  <p:cNvGrpSpPr>
                    <a:grpSpLocks/>
                  </p:cNvGrpSpPr>
                  <p:nvPr/>
                </p:nvGrpSpPr>
                <p:grpSpPr>
                  <a:xfrm>
                    <a:off x="3691709" y="1603375"/>
                    <a:ext cx="4829991" cy="4870450"/>
                    <a:chOff x="3691709" y="1603375"/>
                    <a:chExt cx="4829991" cy="4870450"/>
                  </a:xfrm>
                </p:grpSpPr>
                <p:cxnSp>
                  <p:nvCxnSpPr>
                    <p:cNvPr id="78" name="Straight Connector 77">
                      <a:extLst>
                        <a:ext uri="{FF2B5EF4-FFF2-40B4-BE49-F238E27FC236}">
                          <a16:creationId xmlns:a16="http://schemas.microsoft.com/office/drawing/2014/main" id="{7665B2AF-1D85-48B4-86CA-A1EFA58B0FEA}"/>
                        </a:ext>
                      </a:extLst>
                    </p:cNvPr>
                    <p:cNvCxnSpPr>
                      <a:cxnSpLocks/>
                    </p:cNvCxnSpPr>
                    <p:nvPr/>
                  </p:nvCxnSpPr>
                  <p:spPr>
                    <a:xfrm flipH="1">
                      <a:off x="5448300" y="2728913"/>
                      <a:ext cx="14288" cy="15049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99EB4F-1FA1-4CCF-8E6C-D00F95F51E43}"/>
                        </a:ext>
                      </a:extLst>
                    </p:cNvPr>
                    <p:cNvCxnSpPr>
                      <a:cxnSpLocks/>
                    </p:cNvCxnSpPr>
                    <p:nvPr/>
                  </p:nvCxnSpPr>
                  <p:spPr>
                    <a:xfrm>
                      <a:off x="5451475" y="4216400"/>
                      <a:ext cx="273050" cy="14287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8A8881D8-F6E1-404E-9105-C6B277C5B833}"/>
                        </a:ext>
                      </a:extLst>
                    </p:cNvPr>
                    <p:cNvGrpSpPr>
                      <a:grpSpLocks/>
                    </p:cNvGrpSpPr>
                    <p:nvPr/>
                  </p:nvGrpSpPr>
                  <p:grpSpPr>
                    <a:xfrm>
                      <a:off x="3691709" y="1603375"/>
                      <a:ext cx="4829991" cy="4870450"/>
                      <a:chOff x="3691709" y="1603375"/>
                      <a:chExt cx="4829991" cy="4870450"/>
                    </a:xfrm>
                  </p:grpSpPr>
                  <p:cxnSp>
                    <p:nvCxnSpPr>
                      <p:cNvPr id="81" name="Straight Connector 80">
                        <a:extLst>
                          <a:ext uri="{FF2B5EF4-FFF2-40B4-BE49-F238E27FC236}">
                            <a16:creationId xmlns:a16="http://schemas.microsoft.com/office/drawing/2014/main" id="{F83D16FC-906A-446B-A078-C052C00FE886}"/>
                          </a:ext>
                        </a:extLst>
                      </p:cNvPr>
                      <p:cNvCxnSpPr>
                        <a:cxnSpLocks/>
                      </p:cNvCxnSpPr>
                      <p:nvPr/>
                    </p:nvCxnSpPr>
                    <p:spPr>
                      <a:xfrm flipV="1">
                        <a:off x="5467350" y="1681163"/>
                        <a:ext cx="200025" cy="10287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40CBE1C-C00A-4E8C-9697-703962C42C0F}"/>
                          </a:ext>
                        </a:extLst>
                      </p:cNvPr>
                      <p:cNvCxnSpPr>
                        <a:cxnSpLocks/>
                      </p:cNvCxnSpPr>
                      <p:nvPr/>
                    </p:nvCxnSpPr>
                    <p:spPr>
                      <a:xfrm flipH="1" flipV="1">
                        <a:off x="4521200" y="2422525"/>
                        <a:ext cx="936625" cy="301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C2BA8C3-277B-4A0E-891D-BA7B4DC96D4A}"/>
                          </a:ext>
                        </a:extLst>
                      </p:cNvPr>
                      <p:cNvGrpSpPr>
                        <a:grpSpLocks/>
                      </p:cNvGrpSpPr>
                      <p:nvPr/>
                    </p:nvGrpSpPr>
                    <p:grpSpPr>
                      <a:xfrm>
                        <a:off x="3691709" y="1603375"/>
                        <a:ext cx="4829991" cy="4870450"/>
                        <a:chOff x="3691709" y="1603375"/>
                        <a:chExt cx="4829991" cy="4870450"/>
                      </a:xfrm>
                    </p:grpSpPr>
                    <p:cxnSp>
                      <p:nvCxnSpPr>
                        <p:cNvPr id="84" name="Straight Connector 83">
                          <a:extLst>
                            <a:ext uri="{FF2B5EF4-FFF2-40B4-BE49-F238E27FC236}">
                              <a16:creationId xmlns:a16="http://schemas.microsoft.com/office/drawing/2014/main" id="{5F15FF4B-70F8-4CD9-A903-085F93D55A8E}"/>
                            </a:ext>
                          </a:extLst>
                        </p:cNvPr>
                        <p:cNvCxnSpPr>
                          <a:cxnSpLocks/>
                        </p:cNvCxnSpPr>
                        <p:nvPr/>
                      </p:nvCxnSpPr>
                      <p:spPr>
                        <a:xfrm flipH="1">
                          <a:off x="4521200" y="1968500"/>
                          <a:ext cx="127000" cy="4508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493BFC6-1AD3-4DF0-B83F-8DB47468AFE2}"/>
                            </a:ext>
                          </a:extLst>
                        </p:cNvPr>
                        <p:cNvGrpSpPr>
                          <a:grpSpLocks/>
                        </p:cNvGrpSpPr>
                        <p:nvPr/>
                      </p:nvGrpSpPr>
                      <p:grpSpPr>
                        <a:xfrm>
                          <a:off x="3691709" y="1603375"/>
                          <a:ext cx="4829991" cy="4870450"/>
                          <a:chOff x="3691709" y="1603375"/>
                          <a:chExt cx="4829991" cy="4870450"/>
                        </a:xfrm>
                      </p:grpSpPr>
                      <p:cxnSp>
                        <p:nvCxnSpPr>
                          <p:cNvPr id="86" name="Straight Connector 85">
                            <a:extLst>
                              <a:ext uri="{FF2B5EF4-FFF2-40B4-BE49-F238E27FC236}">
                                <a16:creationId xmlns:a16="http://schemas.microsoft.com/office/drawing/2014/main" id="{BB87E780-F65C-44E0-9FC3-CEEC05383FC6}"/>
                              </a:ext>
                            </a:extLst>
                          </p:cNvPr>
                          <p:cNvCxnSpPr>
                            <a:cxnSpLocks/>
                          </p:cNvCxnSpPr>
                          <p:nvPr/>
                        </p:nvCxnSpPr>
                        <p:spPr>
                          <a:xfrm flipH="1" flipV="1">
                            <a:off x="3767693" y="3201335"/>
                            <a:ext cx="466170" cy="43245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60118386-ACEC-4068-8BE6-DDC70CD321C6}"/>
                              </a:ext>
                            </a:extLst>
                          </p:cNvPr>
                          <p:cNvGrpSpPr>
                            <a:grpSpLocks/>
                          </p:cNvGrpSpPr>
                          <p:nvPr/>
                        </p:nvGrpSpPr>
                        <p:grpSpPr>
                          <a:xfrm>
                            <a:off x="3691709" y="1603375"/>
                            <a:ext cx="4829991" cy="4870450"/>
                            <a:chOff x="3691709" y="1603375"/>
                            <a:chExt cx="4829991" cy="4870450"/>
                          </a:xfrm>
                        </p:grpSpPr>
                        <p:cxnSp>
                          <p:nvCxnSpPr>
                            <p:cNvPr id="88" name="Straight Connector 87">
                              <a:extLst>
                                <a:ext uri="{FF2B5EF4-FFF2-40B4-BE49-F238E27FC236}">
                                  <a16:creationId xmlns:a16="http://schemas.microsoft.com/office/drawing/2014/main" id="{376C0376-20BB-4AAE-889E-4ABD0945EDA5}"/>
                                </a:ext>
                              </a:extLst>
                            </p:cNvPr>
                            <p:cNvCxnSpPr>
                              <a:cxnSpLocks/>
                            </p:cNvCxnSpPr>
                            <p:nvPr/>
                          </p:nvCxnSpPr>
                          <p:spPr>
                            <a:xfrm flipH="1" flipV="1">
                              <a:off x="5664200" y="1695450"/>
                              <a:ext cx="1298576" cy="15876"/>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276ADFC-727D-481B-8035-D1EF192CD1FC}"/>
                                </a:ext>
                              </a:extLst>
                            </p:cNvPr>
                            <p:cNvCxnSpPr>
                              <a:cxnSpLocks/>
                            </p:cNvCxnSpPr>
                            <p:nvPr/>
                          </p:nvCxnSpPr>
                          <p:spPr>
                            <a:xfrm flipH="1">
                              <a:off x="5667375" y="1603375"/>
                              <a:ext cx="450850" cy="952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D0EE2D0-0CC3-4036-B49F-ACA214E66AD0}"/>
                                </a:ext>
                              </a:extLst>
                            </p:cNvPr>
                            <p:cNvCxnSpPr>
                              <a:cxnSpLocks/>
                            </p:cNvCxnSpPr>
                            <p:nvPr/>
                          </p:nvCxnSpPr>
                          <p:spPr>
                            <a:xfrm flipH="1" flipV="1">
                              <a:off x="6102523" y="1603742"/>
                              <a:ext cx="853902" cy="10758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717C17-CDAE-4C88-AF51-C6DA4277046C}"/>
                                </a:ext>
                              </a:extLst>
                            </p:cNvPr>
                            <p:cNvGrpSpPr>
                              <a:grpSpLocks/>
                            </p:cNvGrpSpPr>
                            <p:nvPr/>
                          </p:nvGrpSpPr>
                          <p:grpSpPr>
                            <a:xfrm>
                              <a:off x="3691709" y="1700213"/>
                              <a:ext cx="4829991" cy="4773612"/>
                              <a:chOff x="3691709" y="1700213"/>
                              <a:chExt cx="4829991" cy="4773612"/>
                            </a:xfrm>
                          </p:grpSpPr>
                          <p:cxnSp>
                            <p:nvCxnSpPr>
                              <p:cNvPr id="92" name="Straight Connector 91">
                                <a:extLst>
                                  <a:ext uri="{FF2B5EF4-FFF2-40B4-BE49-F238E27FC236}">
                                    <a16:creationId xmlns:a16="http://schemas.microsoft.com/office/drawing/2014/main" id="{59415344-3EAA-4291-A942-02B6B9831319}"/>
                                  </a:ext>
                                </a:extLst>
                              </p:cNvPr>
                              <p:cNvCxnSpPr>
                                <a:cxnSpLocks/>
                              </p:cNvCxnSpPr>
                              <p:nvPr/>
                            </p:nvCxnSpPr>
                            <p:spPr>
                              <a:xfrm flipV="1">
                                <a:off x="5462588" y="2309813"/>
                                <a:ext cx="1428750" cy="41433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4554288-7396-4BC7-B157-6B9B9D10537E}"/>
                                  </a:ext>
                                </a:extLst>
                              </p:cNvPr>
                              <p:cNvCxnSpPr>
                                <a:cxnSpLocks/>
                              </p:cNvCxnSpPr>
                              <p:nvPr/>
                            </p:nvCxnSpPr>
                            <p:spPr>
                              <a:xfrm flipV="1">
                                <a:off x="6553200" y="2309813"/>
                                <a:ext cx="319088" cy="11239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8436452-C520-43E7-9E26-B81A6E892455}"/>
                                  </a:ext>
                                </a:extLst>
                              </p:cNvPr>
                              <p:cNvCxnSpPr>
                                <a:cxnSpLocks/>
                              </p:cNvCxnSpPr>
                              <p:nvPr/>
                            </p:nvCxnSpPr>
                            <p:spPr>
                              <a:xfrm flipH="1" flipV="1">
                                <a:off x="6881813" y="2305050"/>
                                <a:ext cx="890587" cy="125253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B5F5BF6-F8B5-4470-84FE-11204BCED59B}"/>
                                  </a:ext>
                                </a:extLst>
                              </p:cNvPr>
                              <p:cNvCxnSpPr>
                                <a:cxnSpLocks/>
                              </p:cNvCxnSpPr>
                              <p:nvPr/>
                            </p:nvCxnSpPr>
                            <p:spPr>
                              <a:xfrm flipH="1">
                                <a:off x="7758113" y="2543175"/>
                                <a:ext cx="276225" cy="100488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D966DA3-1963-419A-A348-D22A28B40C9D}"/>
                                  </a:ext>
                                </a:extLst>
                              </p:cNvPr>
                              <p:cNvCxnSpPr>
                                <a:cxnSpLocks/>
                              </p:cNvCxnSpPr>
                              <p:nvPr/>
                            </p:nvCxnSpPr>
                            <p:spPr>
                              <a:xfrm flipH="1" flipV="1">
                                <a:off x="6553200" y="3419475"/>
                                <a:ext cx="1219200" cy="152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AC8647E-832C-4F1D-BC76-602B5F7BFAD8}"/>
                                  </a:ext>
                                </a:extLst>
                              </p:cNvPr>
                              <p:cNvCxnSpPr>
                                <a:cxnSpLocks/>
                              </p:cNvCxnSpPr>
                              <p:nvPr/>
                            </p:nvCxnSpPr>
                            <p:spPr>
                              <a:xfrm>
                                <a:off x="6562725" y="3457575"/>
                                <a:ext cx="323850" cy="12858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BB46FCA-4356-442B-8172-B466F9AD0DFA}"/>
                                  </a:ext>
                                </a:extLst>
                              </p:cNvPr>
                              <p:cNvCxnSpPr>
                                <a:cxnSpLocks/>
                              </p:cNvCxnSpPr>
                              <p:nvPr/>
                            </p:nvCxnSpPr>
                            <p:spPr>
                              <a:xfrm>
                                <a:off x="6962775" y="1733550"/>
                                <a:ext cx="604838" cy="3714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990692E-D699-4EF0-ACA9-DC785E8EBFAA}"/>
                                  </a:ext>
                                </a:extLst>
                              </p:cNvPr>
                              <p:cNvCxnSpPr>
                                <a:cxnSpLocks/>
                              </p:cNvCxnSpPr>
                              <p:nvPr/>
                            </p:nvCxnSpPr>
                            <p:spPr>
                              <a:xfrm>
                                <a:off x="7562850" y="2105025"/>
                                <a:ext cx="466725" cy="4667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BCF48D4-6E4A-4EEF-88F0-071735DA3F52}"/>
                                  </a:ext>
                                </a:extLst>
                              </p:cNvPr>
                              <p:cNvCxnSpPr>
                                <a:cxnSpLocks/>
                              </p:cNvCxnSpPr>
                              <p:nvPr/>
                            </p:nvCxnSpPr>
                            <p:spPr>
                              <a:xfrm>
                                <a:off x="8015288" y="2562225"/>
                                <a:ext cx="433387" cy="809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7CD844E-5699-446A-8A0E-2B76F2823987}"/>
                                  </a:ext>
                                </a:extLst>
                              </p:cNvPr>
                              <p:cNvCxnSpPr>
                                <a:cxnSpLocks/>
                              </p:cNvCxnSpPr>
                              <p:nvPr/>
                            </p:nvCxnSpPr>
                            <p:spPr>
                              <a:xfrm>
                                <a:off x="8462963" y="3357563"/>
                                <a:ext cx="38100" cy="4762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564DD2-6169-4207-950E-6CF9DFA36D73}"/>
                                  </a:ext>
                                </a:extLst>
                              </p:cNvPr>
                              <p:cNvCxnSpPr>
                                <a:cxnSpLocks/>
                              </p:cNvCxnSpPr>
                              <p:nvPr/>
                            </p:nvCxnSpPr>
                            <p:spPr>
                              <a:xfrm>
                                <a:off x="8024813" y="2566988"/>
                                <a:ext cx="476250" cy="12668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D1834F02-E738-4A12-9403-D3E9E6564E33}"/>
                                  </a:ext>
                                </a:extLst>
                              </p:cNvPr>
                              <p:cNvCxnSpPr>
                                <a:cxnSpLocks/>
                              </p:cNvCxnSpPr>
                              <p:nvPr/>
                            </p:nvCxnSpPr>
                            <p:spPr>
                              <a:xfrm>
                                <a:off x="7767638" y="3552825"/>
                                <a:ext cx="723900" cy="27146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B77F444-77A4-4188-867D-6F80AD9B658C}"/>
                                  </a:ext>
                                </a:extLst>
                              </p:cNvPr>
                              <p:cNvCxnSpPr>
                                <a:cxnSpLocks/>
                              </p:cNvCxnSpPr>
                              <p:nvPr/>
                            </p:nvCxnSpPr>
                            <p:spPr>
                              <a:xfrm flipH="1" flipV="1">
                                <a:off x="5657850" y="1700213"/>
                                <a:ext cx="1247775" cy="6191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5638027-2A04-4021-BB7F-6473F3414BCF}"/>
                                  </a:ext>
                                </a:extLst>
                              </p:cNvPr>
                              <p:cNvCxnSpPr>
                                <a:cxnSpLocks/>
                              </p:cNvCxnSpPr>
                              <p:nvPr/>
                            </p:nvCxnSpPr>
                            <p:spPr>
                              <a:xfrm flipH="1">
                                <a:off x="4664075" y="1701800"/>
                                <a:ext cx="1012825" cy="2825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9B18F8A-DB1A-4BBE-AE84-0AF8FE02DF87}"/>
                                  </a:ext>
                                </a:extLst>
                              </p:cNvPr>
                              <p:cNvCxnSpPr>
                                <a:cxnSpLocks/>
                              </p:cNvCxnSpPr>
                              <p:nvPr/>
                            </p:nvCxnSpPr>
                            <p:spPr>
                              <a:xfrm flipH="1">
                                <a:off x="4516941" y="1709740"/>
                                <a:ext cx="1158875" cy="7112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77D4C7E3-D032-44F2-A5D7-48731ED841B5}"/>
                                  </a:ext>
                                </a:extLst>
                              </p:cNvPr>
                              <p:cNvCxnSpPr>
                                <a:cxnSpLocks/>
                              </p:cNvCxnSpPr>
                              <p:nvPr/>
                            </p:nvCxnSpPr>
                            <p:spPr>
                              <a:xfrm flipH="1">
                                <a:off x="3784600" y="1978025"/>
                                <a:ext cx="873125" cy="1190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22DD265-202F-42F7-B854-A8D85E4D87E0}"/>
                                  </a:ext>
                                </a:extLst>
                              </p:cNvPr>
                              <p:cNvCxnSpPr>
                                <a:cxnSpLocks/>
                              </p:cNvCxnSpPr>
                              <p:nvPr/>
                            </p:nvCxnSpPr>
                            <p:spPr>
                              <a:xfrm flipH="1">
                                <a:off x="3779044" y="2414588"/>
                                <a:ext cx="750094" cy="747712"/>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028F568D-860A-4C3D-9815-2A3D83C9F3C4}"/>
                                  </a:ext>
                                </a:extLst>
                              </p:cNvPr>
                              <p:cNvGrpSpPr>
                                <a:grpSpLocks/>
                              </p:cNvGrpSpPr>
                              <p:nvPr/>
                            </p:nvGrpSpPr>
                            <p:grpSpPr>
                              <a:xfrm>
                                <a:off x="3691709" y="2397125"/>
                                <a:ext cx="4829991" cy="4076700"/>
                                <a:chOff x="3691709" y="2397125"/>
                                <a:chExt cx="4829991" cy="4076700"/>
                              </a:xfrm>
                            </p:grpSpPr>
                            <p:cxnSp>
                              <p:nvCxnSpPr>
                                <p:cNvPr id="110" name="Straight Connector 109">
                                  <a:extLst>
                                    <a:ext uri="{FF2B5EF4-FFF2-40B4-BE49-F238E27FC236}">
                                      <a16:creationId xmlns:a16="http://schemas.microsoft.com/office/drawing/2014/main" id="{33D265D1-754B-48DC-BD7C-2817176D34FA}"/>
                                    </a:ext>
                                  </a:extLst>
                                </p:cNvPr>
                                <p:cNvCxnSpPr>
                                  <a:cxnSpLocks/>
                                </p:cNvCxnSpPr>
                                <p:nvPr/>
                              </p:nvCxnSpPr>
                              <p:spPr>
                                <a:xfrm>
                                  <a:off x="5467350" y="2738438"/>
                                  <a:ext cx="1095375" cy="70008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8D0AE9-5082-4770-B6BC-A8B7B379AFE8}"/>
                                    </a:ext>
                                  </a:extLst>
                                </p:cNvPr>
                                <p:cNvCxnSpPr>
                                  <a:cxnSpLocks/>
                                </p:cNvCxnSpPr>
                                <p:nvPr/>
                              </p:nvCxnSpPr>
                              <p:spPr>
                                <a:xfrm flipH="1">
                                  <a:off x="5448300" y="3438525"/>
                                  <a:ext cx="1114425" cy="77628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3C92E05-436F-4DD7-9943-17B2220270DA}"/>
                                    </a:ext>
                                  </a:extLst>
                                </p:cNvPr>
                                <p:cNvCxnSpPr>
                                  <a:cxnSpLocks/>
                                </p:cNvCxnSpPr>
                                <p:nvPr/>
                              </p:nvCxnSpPr>
                              <p:spPr>
                                <a:xfrm flipH="1">
                                  <a:off x="6886575" y="3548063"/>
                                  <a:ext cx="890588" cy="117633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55191D2-4A66-4203-90EA-933C87504227}"/>
                                    </a:ext>
                                  </a:extLst>
                                </p:cNvPr>
                                <p:cNvCxnSpPr>
                                  <a:cxnSpLocks/>
                                </p:cNvCxnSpPr>
                                <p:nvPr/>
                              </p:nvCxnSpPr>
                              <p:spPr>
                                <a:xfrm>
                                  <a:off x="5453094" y="4208463"/>
                                  <a:ext cx="1447769" cy="525462"/>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BA48419-423E-43C5-A0D2-14E59E15D067}"/>
                                    </a:ext>
                                  </a:extLst>
                                </p:cNvPr>
                                <p:cNvCxnSpPr>
                                  <a:cxnSpLocks/>
                                </p:cNvCxnSpPr>
                                <p:nvPr/>
                              </p:nvCxnSpPr>
                              <p:spPr>
                                <a:xfrm flipH="1">
                                  <a:off x="5721350" y="4727575"/>
                                  <a:ext cx="1177925" cy="9080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E4CDD41-36D8-4D83-BB6A-E36D0210A1AD}"/>
                                    </a:ext>
                                  </a:extLst>
                                </p:cNvPr>
                                <p:cNvCxnSpPr>
                                  <a:cxnSpLocks/>
                                </p:cNvCxnSpPr>
                                <p:nvPr/>
                              </p:nvCxnSpPr>
                              <p:spPr>
                                <a:xfrm flipH="1" flipV="1">
                                  <a:off x="6896100" y="4730750"/>
                                  <a:ext cx="1108075" cy="2571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BA5E960-D578-4E3A-8292-A92D73DBBDCA}"/>
                                    </a:ext>
                                  </a:extLst>
                                </p:cNvPr>
                                <p:cNvCxnSpPr>
                                  <a:cxnSpLocks/>
                                </p:cNvCxnSpPr>
                                <p:nvPr/>
                              </p:nvCxnSpPr>
                              <p:spPr>
                                <a:xfrm flipH="1" flipV="1">
                                  <a:off x="7775575" y="3571875"/>
                                  <a:ext cx="257175" cy="1422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4BDE79A-CF97-44EA-AC1C-B7CBB7D34D91}"/>
                                    </a:ext>
                                  </a:extLst>
                                </p:cNvPr>
                                <p:cNvCxnSpPr>
                                  <a:cxnSpLocks/>
                                </p:cNvCxnSpPr>
                                <p:nvPr/>
                              </p:nvCxnSpPr>
                              <p:spPr>
                                <a:xfrm flipV="1">
                                  <a:off x="8013700" y="3832225"/>
                                  <a:ext cx="508000" cy="11779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8A654F9-72BE-4746-B1C3-974802A6DF4E}"/>
                                    </a:ext>
                                  </a:extLst>
                                </p:cNvPr>
                                <p:cNvCxnSpPr>
                                  <a:cxnSpLocks/>
                                </p:cNvCxnSpPr>
                                <p:nvPr/>
                              </p:nvCxnSpPr>
                              <p:spPr>
                                <a:xfrm flipV="1">
                                  <a:off x="8451850" y="3835400"/>
                                  <a:ext cx="60325" cy="10572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753BF7-C3FC-424A-A2F1-3ED492D00DE2}"/>
                                    </a:ext>
                                  </a:extLst>
                                </p:cNvPr>
                                <p:cNvCxnSpPr>
                                  <a:cxnSpLocks/>
                                </p:cNvCxnSpPr>
                                <p:nvPr/>
                              </p:nvCxnSpPr>
                              <p:spPr>
                                <a:xfrm flipV="1">
                                  <a:off x="8020050" y="4876800"/>
                                  <a:ext cx="434975" cy="1143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BA6A78D-F526-4AD8-9E9F-D874AF0F5566}"/>
                                    </a:ext>
                                  </a:extLst>
                                </p:cNvPr>
                                <p:cNvCxnSpPr>
                                  <a:cxnSpLocks/>
                                </p:cNvCxnSpPr>
                                <p:nvPr/>
                              </p:nvCxnSpPr>
                              <p:spPr>
                                <a:xfrm>
                                  <a:off x="6905625" y="4721225"/>
                                  <a:ext cx="82550" cy="11493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E7EFF4E-AD9C-4CA8-9770-51F537EEA897}"/>
                                    </a:ext>
                                  </a:extLst>
                                </p:cNvPr>
                                <p:cNvCxnSpPr>
                                  <a:cxnSpLocks/>
                                </p:cNvCxnSpPr>
                                <p:nvPr/>
                              </p:nvCxnSpPr>
                              <p:spPr>
                                <a:xfrm flipH="1">
                                  <a:off x="6988175" y="4987925"/>
                                  <a:ext cx="1047750" cy="8604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49A885A-F5B4-4F21-A85A-E50819BF17B7}"/>
                                    </a:ext>
                                  </a:extLst>
                                </p:cNvPr>
                                <p:cNvCxnSpPr>
                                  <a:cxnSpLocks/>
                                </p:cNvCxnSpPr>
                                <p:nvPr/>
                              </p:nvCxnSpPr>
                              <p:spPr>
                                <a:xfrm flipH="1">
                                  <a:off x="7553325" y="4873023"/>
                                  <a:ext cx="901700" cy="116582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C3F912A-A34B-4D98-9A67-224287A19C78}"/>
                                    </a:ext>
                                  </a:extLst>
                                </p:cNvPr>
                                <p:cNvCxnSpPr>
                                  <a:cxnSpLocks/>
                                </p:cNvCxnSpPr>
                                <p:nvPr/>
                              </p:nvCxnSpPr>
                              <p:spPr>
                                <a:xfrm flipH="1">
                                  <a:off x="7562850" y="4994275"/>
                                  <a:ext cx="457200" cy="10445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FBD0658-EDA0-4BEB-ADE2-CEE06BC95FC9}"/>
                                    </a:ext>
                                  </a:extLst>
                                </p:cNvPr>
                                <p:cNvCxnSpPr>
                                  <a:cxnSpLocks/>
                                </p:cNvCxnSpPr>
                                <p:nvPr/>
                              </p:nvCxnSpPr>
                              <p:spPr>
                                <a:xfrm flipH="1">
                                  <a:off x="6102350" y="6369050"/>
                                  <a:ext cx="447675" cy="1047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EB1BEF1-90C6-4D29-A54C-4E088E507329}"/>
                                    </a:ext>
                                  </a:extLst>
                                </p:cNvPr>
                                <p:cNvCxnSpPr>
                                  <a:cxnSpLocks/>
                                </p:cNvCxnSpPr>
                                <p:nvPr/>
                              </p:nvCxnSpPr>
                              <p:spPr>
                                <a:xfrm flipH="1">
                                  <a:off x="6529474" y="6026150"/>
                                  <a:ext cx="1039726" cy="342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9D182E2F-0C94-4972-846A-42B415225786}"/>
                                    </a:ext>
                                  </a:extLst>
                                </p:cNvPr>
                                <p:cNvGrpSpPr>
                                  <a:grpSpLocks/>
                                </p:cNvGrpSpPr>
                                <p:nvPr/>
                              </p:nvGrpSpPr>
                              <p:grpSpPr>
                                <a:xfrm>
                                  <a:off x="3691709" y="2397125"/>
                                  <a:ext cx="2035991" cy="3575050"/>
                                  <a:chOff x="3691709" y="2397125"/>
                                  <a:chExt cx="2035991" cy="3575050"/>
                                </a:xfrm>
                              </p:grpSpPr>
                              <p:cxnSp>
                                <p:nvCxnSpPr>
                                  <p:cNvPr id="130" name="Straight Connector 129">
                                    <a:extLst>
                                      <a:ext uri="{FF2B5EF4-FFF2-40B4-BE49-F238E27FC236}">
                                        <a16:creationId xmlns:a16="http://schemas.microsoft.com/office/drawing/2014/main" id="{C2D41FBE-FC0C-4489-8E9F-8A411E304EB2}"/>
                                      </a:ext>
                                    </a:extLst>
                                  </p:cNvPr>
                                  <p:cNvCxnSpPr>
                                    <a:cxnSpLocks/>
                                  </p:cNvCxnSpPr>
                                  <p:nvPr/>
                                </p:nvCxnSpPr>
                                <p:spPr>
                                  <a:xfrm flipH="1">
                                    <a:off x="4225925" y="2727325"/>
                                    <a:ext cx="1231900" cy="911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E66B6A7-2F57-4367-9871-152EE080230A}"/>
                                      </a:ext>
                                    </a:extLst>
                                  </p:cNvPr>
                                  <p:cNvCxnSpPr>
                                    <a:cxnSpLocks/>
                                  </p:cNvCxnSpPr>
                                  <p:nvPr/>
                                </p:nvCxnSpPr>
                                <p:spPr>
                                  <a:xfrm flipH="1">
                                    <a:off x="4225925" y="2397125"/>
                                    <a:ext cx="298450" cy="12414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99ADFA9-60F4-4D18-BF09-B0619AE3F804}"/>
                                      </a:ext>
                                    </a:extLst>
                                  </p:cNvPr>
                                  <p:cNvCxnSpPr>
                                    <a:cxnSpLocks/>
                                  </p:cNvCxnSpPr>
                                  <p:nvPr/>
                                </p:nvCxnSpPr>
                                <p:spPr>
                                  <a:xfrm flipH="1" flipV="1">
                                    <a:off x="4225925" y="3625197"/>
                                    <a:ext cx="1231900" cy="608666"/>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97AAEFB-95C4-433A-86A9-35B1E8257CEB}"/>
                                      </a:ext>
                                    </a:extLst>
                                  </p:cNvPr>
                                  <p:cNvCxnSpPr>
                                    <a:cxnSpLocks/>
                                  </p:cNvCxnSpPr>
                                  <p:nvPr/>
                                </p:nvCxnSpPr>
                                <p:spPr>
                                  <a:xfrm flipH="1" flipV="1">
                                    <a:off x="4233863" y="3631406"/>
                                    <a:ext cx="296862" cy="1356519"/>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FEB52F7-48DE-469C-A9A7-79130C5A8ED1}"/>
                                      </a:ext>
                                    </a:extLst>
                                  </p:cNvPr>
                                  <p:cNvCxnSpPr>
                                    <a:cxnSpLocks/>
                                  </p:cNvCxnSpPr>
                                  <p:nvPr/>
                                </p:nvCxnSpPr>
                                <p:spPr>
                                  <a:xfrm flipV="1">
                                    <a:off x="4530725" y="4210050"/>
                                    <a:ext cx="936625" cy="7715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51BB097-5514-44B3-966B-9B3FCFC18877}"/>
                                      </a:ext>
                                    </a:extLst>
                                  </p:cNvPr>
                                  <p:cNvCxnSpPr>
                                    <a:cxnSpLocks/>
                                  </p:cNvCxnSpPr>
                                  <p:nvPr/>
                                </p:nvCxnSpPr>
                                <p:spPr>
                                  <a:xfrm flipV="1">
                                    <a:off x="3752849" y="3616325"/>
                                    <a:ext cx="479426" cy="1092154"/>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6BDE74F-8D5C-4739-B864-FFE02573C6C0}"/>
                                      </a:ext>
                                    </a:extLst>
                                  </p:cNvPr>
                                  <p:cNvCxnSpPr>
                                    <a:cxnSpLocks/>
                                  </p:cNvCxnSpPr>
                                  <p:nvPr/>
                                </p:nvCxnSpPr>
                                <p:spPr>
                                  <a:xfrm>
                                    <a:off x="3759200" y="4702175"/>
                                    <a:ext cx="790575" cy="279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D946F9FD-00A9-492A-8B9A-9A66B15F35C7}"/>
                                      </a:ext>
                                    </a:extLst>
                                  </p:cNvPr>
                                  <p:cNvCxnSpPr>
                                    <a:cxnSpLocks/>
                                  </p:cNvCxnSpPr>
                                  <p:nvPr/>
                                </p:nvCxnSpPr>
                                <p:spPr>
                                  <a:xfrm flipH="1">
                                    <a:off x="3692525" y="3192557"/>
                                    <a:ext cx="54325" cy="101749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181DC996-C9E7-40D4-8D43-83EABEF0FA09}"/>
                                      </a:ext>
                                    </a:extLst>
                                  </p:cNvPr>
                                  <p:cNvCxnSpPr>
                                    <a:cxnSpLocks/>
                                  </p:cNvCxnSpPr>
                                  <p:nvPr/>
                                </p:nvCxnSpPr>
                                <p:spPr>
                                  <a:xfrm>
                                    <a:off x="3691709" y="4196300"/>
                                    <a:ext cx="57966" cy="512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477C69E-DC21-4B6F-85B5-CA155199963B}"/>
                                      </a:ext>
                                    </a:extLst>
                                  </p:cNvPr>
                                  <p:cNvCxnSpPr>
                                    <a:cxnSpLocks/>
                                  </p:cNvCxnSpPr>
                                  <p:nvPr/>
                                </p:nvCxnSpPr>
                                <p:spPr>
                                  <a:xfrm flipH="1">
                                    <a:off x="3759200" y="3151932"/>
                                    <a:ext cx="1938" cy="153754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65F2682-B8CA-4F8E-9A79-05B94159B443}"/>
                                      </a:ext>
                                    </a:extLst>
                                  </p:cNvPr>
                                  <p:cNvCxnSpPr>
                                    <a:cxnSpLocks/>
                                  </p:cNvCxnSpPr>
                                  <p:nvPr/>
                                </p:nvCxnSpPr>
                                <p:spPr>
                                  <a:xfrm flipH="1" flipV="1">
                                    <a:off x="4540250" y="4984750"/>
                                    <a:ext cx="1187450" cy="657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5D1DEFC-5E81-4475-B8DF-42667EBEEC71}"/>
                                      </a:ext>
                                    </a:extLst>
                                  </p:cNvPr>
                                  <p:cNvCxnSpPr>
                                    <a:cxnSpLocks/>
                                  </p:cNvCxnSpPr>
                                  <p:nvPr/>
                                </p:nvCxnSpPr>
                                <p:spPr>
                                  <a:xfrm flipH="1" flipV="1">
                                    <a:off x="4521200" y="4972050"/>
                                    <a:ext cx="146050" cy="10001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DF15D9B-31FF-424B-BCF6-A29AB9CED085}"/>
                                      </a:ext>
                                    </a:extLst>
                                  </p:cNvPr>
                                  <p:cNvCxnSpPr>
                                    <a:cxnSpLocks/>
                                  </p:cNvCxnSpPr>
                                  <p:nvPr/>
                                </p:nvCxnSpPr>
                                <p:spPr>
                                  <a:xfrm flipH="1" flipV="1">
                                    <a:off x="3756675" y="4689475"/>
                                    <a:ext cx="415275" cy="8286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CAC5188-44B5-4228-82AE-EFF7BA002A55}"/>
                                      </a:ext>
                                    </a:extLst>
                                  </p:cNvPr>
                                  <p:cNvCxnSpPr>
                                    <a:cxnSpLocks/>
                                  </p:cNvCxnSpPr>
                                  <p:nvPr/>
                                </p:nvCxnSpPr>
                                <p:spPr>
                                  <a:xfrm flipH="1" flipV="1">
                                    <a:off x="4156726" y="5499716"/>
                                    <a:ext cx="504174" cy="450234"/>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645AFEE-D65A-44EF-A933-A781425EA9DE}"/>
                                      </a:ext>
                                    </a:extLst>
                                  </p:cNvPr>
                                  <p:cNvCxnSpPr>
                                    <a:cxnSpLocks/>
                                  </p:cNvCxnSpPr>
                                  <p:nvPr/>
                                </p:nvCxnSpPr>
                                <p:spPr>
                                  <a:xfrm flipH="1" flipV="1">
                                    <a:off x="3749675" y="4690045"/>
                                    <a:ext cx="930275" cy="127260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27" name="Straight Connector 126">
                                  <a:extLst>
                                    <a:ext uri="{FF2B5EF4-FFF2-40B4-BE49-F238E27FC236}">
                                      <a16:creationId xmlns:a16="http://schemas.microsoft.com/office/drawing/2014/main" id="{55821368-A29F-4F9A-912B-131E81948080}"/>
                                    </a:ext>
                                  </a:extLst>
                                </p:cNvPr>
                                <p:cNvCxnSpPr>
                                  <a:cxnSpLocks/>
                                </p:cNvCxnSpPr>
                                <p:nvPr/>
                              </p:nvCxnSpPr>
                              <p:spPr>
                                <a:xfrm flipH="1" flipV="1">
                                  <a:off x="4650121" y="5939098"/>
                                  <a:ext cx="594979" cy="40772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EF87B6D5-3BB5-486A-AD7E-7B0474CA03A0}"/>
                                    </a:ext>
                                  </a:extLst>
                                </p:cNvPr>
                                <p:cNvCxnSpPr>
                                  <a:cxnSpLocks/>
                                </p:cNvCxnSpPr>
                                <p:nvPr/>
                              </p:nvCxnSpPr>
                              <p:spPr>
                                <a:xfrm flipH="1" flipV="1">
                                  <a:off x="4673600" y="5959475"/>
                                  <a:ext cx="1444625" cy="5080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3E9C754-C8EA-403A-B8D9-51C0EEEA387B}"/>
                                    </a:ext>
                                  </a:extLst>
                                </p:cNvPr>
                                <p:cNvCxnSpPr>
                                  <a:cxnSpLocks/>
                                </p:cNvCxnSpPr>
                                <p:nvPr/>
                              </p:nvCxnSpPr>
                              <p:spPr>
                                <a:xfrm flipH="1" flipV="1">
                                  <a:off x="5228589" y="6336290"/>
                                  <a:ext cx="889636" cy="12483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grpSp>
              </p:grpSp>
            </p:grpSp>
          </p:grpSp>
        </p:grpSp>
        <p:cxnSp>
          <p:nvCxnSpPr>
            <p:cNvPr id="11" name="Straight Connector 10">
              <a:extLst>
                <a:ext uri="{FF2B5EF4-FFF2-40B4-BE49-F238E27FC236}">
                  <a16:creationId xmlns:a16="http://schemas.microsoft.com/office/drawing/2014/main" id="{926F0149-9103-4DF5-90CD-9BB32705A657}"/>
                </a:ext>
              </a:extLst>
            </p:cNvPr>
            <p:cNvCxnSpPr>
              <a:cxnSpLocks/>
            </p:cNvCxnSpPr>
            <p:nvPr/>
          </p:nvCxnSpPr>
          <p:spPr>
            <a:xfrm flipH="1">
              <a:off x="7888749" y="4744813"/>
              <a:ext cx="365449" cy="26566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343DAC94-AFAA-41C2-A766-625091487FEB}"/>
                </a:ext>
              </a:extLst>
            </p:cNvPr>
            <p:cNvSpPr/>
            <p:nvPr/>
          </p:nvSpPr>
          <p:spPr bwMode="auto">
            <a:xfrm>
              <a:off x="7618302" y="4071454"/>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1E99E59B-6AC2-4483-AA32-98AFAC31F8D0}"/>
                </a:ext>
              </a:extLst>
            </p:cNvPr>
            <p:cNvSpPr/>
            <p:nvPr/>
          </p:nvSpPr>
          <p:spPr bwMode="auto">
            <a:xfrm>
              <a:off x="8219016" y="4720677"/>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F65FD4B9-C1B1-41D6-9185-06A1420F6346}"/>
                </a:ext>
              </a:extLst>
            </p:cNvPr>
            <p:cNvSpPr/>
            <p:nvPr/>
          </p:nvSpPr>
          <p:spPr bwMode="auto">
            <a:xfrm>
              <a:off x="6949726" y="4260717"/>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DED7EA8-C344-4DEA-9634-C2395AB979B0}"/>
                </a:ext>
              </a:extLst>
            </p:cNvPr>
            <p:cNvSpPr/>
            <p:nvPr/>
          </p:nvSpPr>
          <p:spPr bwMode="auto">
            <a:xfrm>
              <a:off x="7246312" y="3360903"/>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8F6BB65D-14D8-475C-B90C-890A52965A30}"/>
                </a:ext>
              </a:extLst>
            </p:cNvPr>
            <p:cNvSpPr/>
            <p:nvPr/>
          </p:nvSpPr>
          <p:spPr bwMode="auto">
            <a:xfrm>
              <a:off x="8183828" y="3315661"/>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C7076ED4-0BF1-44EB-BB77-738D271DB793}"/>
                </a:ext>
              </a:extLst>
            </p:cNvPr>
            <p:cNvSpPr/>
            <p:nvPr/>
          </p:nvSpPr>
          <p:spPr bwMode="auto">
            <a:xfrm>
              <a:off x="8822243" y="3913861"/>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7E31C5A3-24EA-44FE-BCB7-9934F5D4F8BB}"/>
                </a:ext>
              </a:extLst>
            </p:cNvPr>
            <p:cNvSpPr/>
            <p:nvPr/>
          </p:nvSpPr>
          <p:spPr bwMode="auto">
            <a:xfrm>
              <a:off x="8631221" y="4376335"/>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875BB3A7-3839-4D37-AC24-1BF944FED641}"/>
                </a:ext>
              </a:extLst>
            </p:cNvPr>
            <p:cNvSpPr/>
            <p:nvPr/>
          </p:nvSpPr>
          <p:spPr bwMode="auto">
            <a:xfrm>
              <a:off x="8799622" y="4326066"/>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7B57BE49-0C15-4A5B-B7A6-F111A15A49F3}"/>
                </a:ext>
              </a:extLst>
            </p:cNvPr>
            <p:cNvSpPr/>
            <p:nvPr/>
          </p:nvSpPr>
          <p:spPr bwMode="auto">
            <a:xfrm>
              <a:off x="7869647" y="4961968"/>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DD6C5D5D-672D-47A8-9A64-BA0E61DD969F}"/>
                </a:ext>
              </a:extLst>
            </p:cNvPr>
            <p:cNvSpPr/>
            <p:nvPr/>
          </p:nvSpPr>
          <p:spPr bwMode="auto">
            <a:xfrm>
              <a:off x="7299095" y="4755866"/>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BEC0BEB9-11F2-4468-8130-31F20028AA38}"/>
                </a:ext>
              </a:extLst>
            </p:cNvPr>
            <p:cNvSpPr/>
            <p:nvPr/>
          </p:nvSpPr>
          <p:spPr bwMode="auto">
            <a:xfrm>
              <a:off x="7110712" y="4586459"/>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0B20DE2B-53FD-404F-9898-FF1213B7F99B}"/>
                </a:ext>
              </a:extLst>
            </p:cNvPr>
            <p:cNvSpPr/>
            <p:nvPr/>
          </p:nvSpPr>
          <p:spPr bwMode="auto">
            <a:xfrm>
              <a:off x="7535484" y="4918234"/>
              <a:ext cx="44991" cy="4122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9BF9AFB6-C609-4696-8C39-DA1C6EC84FA0}"/>
                </a:ext>
              </a:extLst>
            </p:cNvPr>
            <p:cNvSpPr/>
            <p:nvPr/>
          </p:nvSpPr>
          <p:spPr bwMode="auto">
            <a:xfrm>
              <a:off x="8053254" y="4933315"/>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D4A5966C-C767-4058-AC5A-B99FBAAD56CF}"/>
                </a:ext>
              </a:extLst>
            </p:cNvPr>
            <p:cNvSpPr/>
            <p:nvPr/>
          </p:nvSpPr>
          <p:spPr bwMode="auto">
            <a:xfrm>
              <a:off x="8814828" y="3736915"/>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AF4C8C83-BD25-466A-A37B-14CA35713A40}"/>
                </a:ext>
              </a:extLst>
            </p:cNvPr>
            <p:cNvSpPr/>
            <p:nvPr/>
          </p:nvSpPr>
          <p:spPr bwMode="auto">
            <a:xfrm>
              <a:off x="6927230" y="4071203"/>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Oval 26">
              <a:extLst>
                <a:ext uri="{FF2B5EF4-FFF2-40B4-BE49-F238E27FC236}">
                  <a16:creationId xmlns:a16="http://schemas.microsoft.com/office/drawing/2014/main" id="{3D8AC724-E8AB-4B2E-BD68-BC76F71DDD31}"/>
                </a:ext>
              </a:extLst>
            </p:cNvPr>
            <p:cNvSpPr/>
            <p:nvPr/>
          </p:nvSpPr>
          <p:spPr bwMode="auto">
            <a:xfrm>
              <a:off x="7299095" y="3179935"/>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Oval 27">
              <a:extLst>
                <a:ext uri="{FF2B5EF4-FFF2-40B4-BE49-F238E27FC236}">
                  <a16:creationId xmlns:a16="http://schemas.microsoft.com/office/drawing/2014/main" id="{823BFCDF-3208-4495-99C6-EAE2C0B7150A}"/>
                </a:ext>
              </a:extLst>
            </p:cNvPr>
            <p:cNvSpPr/>
            <p:nvPr/>
          </p:nvSpPr>
          <p:spPr bwMode="auto">
            <a:xfrm>
              <a:off x="7703759" y="3074370"/>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6777DC88-4908-49F7-94D0-F6BF98B68B2E}"/>
                </a:ext>
              </a:extLst>
            </p:cNvPr>
            <p:cNvSpPr/>
            <p:nvPr/>
          </p:nvSpPr>
          <p:spPr bwMode="auto">
            <a:xfrm>
              <a:off x="8457919" y="3239252"/>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Oval 29">
              <a:extLst>
                <a:ext uri="{FF2B5EF4-FFF2-40B4-BE49-F238E27FC236}">
                  <a16:creationId xmlns:a16="http://schemas.microsoft.com/office/drawing/2014/main" id="{676E629C-CB45-487E-B85D-88E147ABBC10}"/>
                </a:ext>
              </a:extLst>
            </p:cNvPr>
            <p:cNvSpPr/>
            <p:nvPr/>
          </p:nvSpPr>
          <p:spPr bwMode="auto">
            <a:xfrm>
              <a:off x="7879826" y="3048230"/>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A92E87A-DC40-48CF-AAE3-F0128EFC7F31}"/>
                </a:ext>
              </a:extLst>
            </p:cNvPr>
            <p:cNvGrpSpPr/>
            <p:nvPr/>
          </p:nvGrpSpPr>
          <p:grpSpPr>
            <a:xfrm>
              <a:off x="7593294" y="3456460"/>
              <a:ext cx="111031" cy="111031"/>
              <a:chOff x="5317808" y="2595361"/>
              <a:chExt cx="280511" cy="280511"/>
            </a:xfrm>
          </p:grpSpPr>
          <p:sp>
            <p:nvSpPr>
              <p:cNvPr id="67" name="Oval 66">
                <a:extLst>
                  <a:ext uri="{FF2B5EF4-FFF2-40B4-BE49-F238E27FC236}">
                    <a16:creationId xmlns:a16="http://schemas.microsoft.com/office/drawing/2014/main" id="{9B2B967E-AA90-4DB9-8475-A79F19363034}"/>
                  </a:ext>
                </a:extLst>
              </p:cNvPr>
              <p:cNvSpPr/>
              <p:nvPr/>
            </p:nvSpPr>
            <p:spPr bwMode="auto">
              <a:xfrm>
                <a:off x="5379958" y="2657511"/>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8" name="Oval 67">
                <a:extLst>
                  <a:ext uri="{FF2B5EF4-FFF2-40B4-BE49-F238E27FC236}">
                    <a16:creationId xmlns:a16="http://schemas.microsoft.com/office/drawing/2014/main" id="{F8287834-7410-4F44-83AE-A25DA7C6E986}"/>
                  </a:ext>
                </a:extLst>
              </p:cNvPr>
              <p:cNvSpPr/>
              <p:nvPr/>
            </p:nvSpPr>
            <p:spPr bwMode="auto">
              <a:xfrm>
                <a:off x="5317808" y="2595361"/>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2A82C8C8-A4EB-46A5-8B59-3F71C9E8519D}"/>
                </a:ext>
              </a:extLst>
            </p:cNvPr>
            <p:cNvGrpSpPr/>
            <p:nvPr/>
          </p:nvGrpSpPr>
          <p:grpSpPr>
            <a:xfrm>
              <a:off x="8506083" y="3785717"/>
              <a:ext cx="111031" cy="111031"/>
              <a:chOff x="7623889" y="3427199"/>
              <a:chExt cx="280511" cy="280511"/>
            </a:xfrm>
          </p:grpSpPr>
          <p:sp>
            <p:nvSpPr>
              <p:cNvPr id="65" name="Oval 64">
                <a:extLst>
                  <a:ext uri="{FF2B5EF4-FFF2-40B4-BE49-F238E27FC236}">
                    <a16:creationId xmlns:a16="http://schemas.microsoft.com/office/drawing/2014/main" id="{BA0B369E-FBC5-4EFC-BEEC-29487284353F}"/>
                  </a:ext>
                </a:extLst>
              </p:cNvPr>
              <p:cNvSpPr/>
              <p:nvPr/>
            </p:nvSpPr>
            <p:spPr bwMode="auto">
              <a:xfrm>
                <a:off x="7686039" y="3489349"/>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6" name="Oval 65">
                <a:extLst>
                  <a:ext uri="{FF2B5EF4-FFF2-40B4-BE49-F238E27FC236}">
                    <a16:creationId xmlns:a16="http://schemas.microsoft.com/office/drawing/2014/main" id="{F47B17F8-46A0-463D-9E28-7E80058ED1AF}"/>
                  </a:ext>
                </a:extLst>
              </p:cNvPr>
              <p:cNvSpPr/>
              <p:nvPr/>
            </p:nvSpPr>
            <p:spPr bwMode="auto">
              <a:xfrm>
                <a:off x="7623889" y="3427199"/>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38D33166-C35F-46E7-84E0-E8776FF5F34D}"/>
                </a:ext>
              </a:extLst>
            </p:cNvPr>
            <p:cNvGrpSpPr/>
            <p:nvPr/>
          </p:nvGrpSpPr>
          <p:grpSpPr>
            <a:xfrm>
              <a:off x="8003349" y="3710258"/>
              <a:ext cx="157819" cy="157818"/>
              <a:chOff x="6328316" y="3244804"/>
              <a:chExt cx="398716" cy="398714"/>
            </a:xfrm>
          </p:grpSpPr>
          <p:sp>
            <p:nvSpPr>
              <p:cNvPr id="62" name="Oval 61">
                <a:extLst>
                  <a:ext uri="{FF2B5EF4-FFF2-40B4-BE49-F238E27FC236}">
                    <a16:creationId xmlns:a16="http://schemas.microsoft.com/office/drawing/2014/main" id="{07C2D389-000F-4BFB-B7E5-F732F1337835}"/>
                  </a:ext>
                </a:extLst>
              </p:cNvPr>
              <p:cNvSpPr/>
              <p:nvPr/>
            </p:nvSpPr>
            <p:spPr bwMode="auto">
              <a:xfrm>
                <a:off x="6449569" y="3366056"/>
                <a:ext cx="156210" cy="156210"/>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3" name="Oval 62">
                <a:extLst>
                  <a:ext uri="{FF2B5EF4-FFF2-40B4-BE49-F238E27FC236}">
                    <a16:creationId xmlns:a16="http://schemas.microsoft.com/office/drawing/2014/main" id="{030E41D4-1FC2-4D4F-B501-34F8C888A2B8}"/>
                  </a:ext>
                </a:extLst>
              </p:cNvPr>
              <p:cNvSpPr/>
              <p:nvPr/>
            </p:nvSpPr>
            <p:spPr bwMode="auto">
              <a:xfrm>
                <a:off x="6387419" y="3303906"/>
                <a:ext cx="280511" cy="280511"/>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4" name="Oval 63">
                <a:extLst>
                  <a:ext uri="{FF2B5EF4-FFF2-40B4-BE49-F238E27FC236}">
                    <a16:creationId xmlns:a16="http://schemas.microsoft.com/office/drawing/2014/main" id="{FAA0AA43-D8F5-44F0-B7F2-AA2168B82ABA}"/>
                  </a:ext>
                </a:extLst>
              </p:cNvPr>
              <p:cNvSpPr/>
              <p:nvPr/>
            </p:nvSpPr>
            <p:spPr bwMode="auto">
              <a:xfrm>
                <a:off x="6328316" y="3244804"/>
                <a:ext cx="398716" cy="398714"/>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B0A2387-DAB2-415A-AE07-714E3F27823E}"/>
                </a:ext>
              </a:extLst>
            </p:cNvPr>
            <p:cNvGrpSpPr/>
            <p:nvPr/>
          </p:nvGrpSpPr>
          <p:grpSpPr>
            <a:xfrm>
              <a:off x="7202062" y="4321835"/>
              <a:ext cx="157819" cy="157818"/>
              <a:chOff x="6328316" y="3244804"/>
              <a:chExt cx="398716" cy="398714"/>
            </a:xfrm>
          </p:grpSpPr>
          <p:sp>
            <p:nvSpPr>
              <p:cNvPr id="59" name="Oval 58">
                <a:extLst>
                  <a:ext uri="{FF2B5EF4-FFF2-40B4-BE49-F238E27FC236}">
                    <a16:creationId xmlns:a16="http://schemas.microsoft.com/office/drawing/2014/main" id="{17A3BB15-E4B1-467F-9D9C-5A96FA9F8CC8}"/>
                  </a:ext>
                </a:extLst>
              </p:cNvPr>
              <p:cNvSpPr/>
              <p:nvPr/>
            </p:nvSpPr>
            <p:spPr bwMode="auto">
              <a:xfrm>
                <a:off x="6449569" y="3366056"/>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0" name="Oval 59">
                <a:extLst>
                  <a:ext uri="{FF2B5EF4-FFF2-40B4-BE49-F238E27FC236}">
                    <a16:creationId xmlns:a16="http://schemas.microsoft.com/office/drawing/2014/main" id="{730C8869-82E0-449E-9C8E-79735DF365C7}"/>
                  </a:ext>
                </a:extLst>
              </p:cNvPr>
              <p:cNvSpPr/>
              <p:nvPr/>
            </p:nvSpPr>
            <p:spPr bwMode="auto">
              <a:xfrm>
                <a:off x="6387419" y="3303906"/>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1" name="Oval 60">
                <a:extLst>
                  <a:ext uri="{FF2B5EF4-FFF2-40B4-BE49-F238E27FC236}">
                    <a16:creationId xmlns:a16="http://schemas.microsoft.com/office/drawing/2014/main" id="{938BABE0-0620-4A24-978B-33D9BAEF58B2}"/>
                  </a:ext>
                </a:extLst>
              </p:cNvPr>
              <p:cNvSpPr/>
              <p:nvPr/>
            </p:nvSpPr>
            <p:spPr bwMode="auto">
              <a:xfrm>
                <a:off x="6328316" y="3244804"/>
                <a:ext cx="398716" cy="398714"/>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005166D4-4F61-4F2A-83AB-D1B848782AC7}"/>
                </a:ext>
              </a:extLst>
            </p:cNvPr>
            <p:cNvGrpSpPr/>
            <p:nvPr/>
          </p:nvGrpSpPr>
          <p:grpSpPr>
            <a:xfrm>
              <a:off x="7703759" y="4607070"/>
              <a:ext cx="111031" cy="111031"/>
              <a:chOff x="5317808" y="2595361"/>
              <a:chExt cx="280511" cy="280511"/>
            </a:xfrm>
          </p:grpSpPr>
          <p:sp>
            <p:nvSpPr>
              <p:cNvPr id="57" name="Oval 56">
                <a:extLst>
                  <a:ext uri="{FF2B5EF4-FFF2-40B4-BE49-F238E27FC236}">
                    <a16:creationId xmlns:a16="http://schemas.microsoft.com/office/drawing/2014/main" id="{0283F3C8-407D-4614-9A07-0E750C30BCA1}"/>
                  </a:ext>
                </a:extLst>
              </p:cNvPr>
              <p:cNvSpPr/>
              <p:nvPr/>
            </p:nvSpPr>
            <p:spPr bwMode="auto">
              <a:xfrm>
                <a:off x="5379958" y="2657511"/>
                <a:ext cx="156210" cy="156210"/>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Oval 57">
                <a:extLst>
                  <a:ext uri="{FF2B5EF4-FFF2-40B4-BE49-F238E27FC236}">
                    <a16:creationId xmlns:a16="http://schemas.microsoft.com/office/drawing/2014/main" id="{B914DF0F-894C-4DFC-8D77-A3134D2F9E9D}"/>
                  </a:ext>
                </a:extLst>
              </p:cNvPr>
              <p:cNvSpPr/>
              <p:nvPr/>
            </p:nvSpPr>
            <p:spPr bwMode="auto">
              <a:xfrm>
                <a:off x="5317808" y="2595361"/>
                <a:ext cx="280511" cy="280511"/>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DB4C0DBE-9509-428D-A610-AAB6DDEC4BE4}"/>
                </a:ext>
              </a:extLst>
            </p:cNvPr>
            <p:cNvGrpSpPr/>
            <p:nvPr/>
          </p:nvGrpSpPr>
          <p:grpSpPr>
            <a:xfrm>
              <a:off x="8399983" y="4738787"/>
              <a:ext cx="157819" cy="157818"/>
              <a:chOff x="6328316" y="3244804"/>
              <a:chExt cx="398716" cy="398714"/>
            </a:xfrm>
          </p:grpSpPr>
          <p:sp>
            <p:nvSpPr>
              <p:cNvPr id="54" name="Oval 53">
                <a:extLst>
                  <a:ext uri="{FF2B5EF4-FFF2-40B4-BE49-F238E27FC236}">
                    <a16:creationId xmlns:a16="http://schemas.microsoft.com/office/drawing/2014/main" id="{EA777E15-3B0B-49A0-B60F-5F77EA2D1A89}"/>
                  </a:ext>
                </a:extLst>
              </p:cNvPr>
              <p:cNvSpPr/>
              <p:nvPr/>
            </p:nvSpPr>
            <p:spPr bwMode="auto">
              <a:xfrm>
                <a:off x="6449569" y="3366056"/>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5" name="Oval 54">
                <a:extLst>
                  <a:ext uri="{FF2B5EF4-FFF2-40B4-BE49-F238E27FC236}">
                    <a16:creationId xmlns:a16="http://schemas.microsoft.com/office/drawing/2014/main" id="{403BF4F6-89EF-4EE7-B1D0-CB04F69C42E0}"/>
                  </a:ext>
                </a:extLst>
              </p:cNvPr>
              <p:cNvSpPr/>
              <p:nvPr/>
            </p:nvSpPr>
            <p:spPr bwMode="auto">
              <a:xfrm>
                <a:off x="6387419" y="3303906"/>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Oval 55">
                <a:extLst>
                  <a:ext uri="{FF2B5EF4-FFF2-40B4-BE49-F238E27FC236}">
                    <a16:creationId xmlns:a16="http://schemas.microsoft.com/office/drawing/2014/main" id="{0D6D4DB1-F939-4FD5-B808-C786C138700B}"/>
                  </a:ext>
                </a:extLst>
              </p:cNvPr>
              <p:cNvSpPr/>
              <p:nvPr/>
            </p:nvSpPr>
            <p:spPr bwMode="auto">
              <a:xfrm>
                <a:off x="6328316" y="3244804"/>
                <a:ext cx="398716" cy="398714"/>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A41B0AB4-F979-4449-9818-F038F88D68F7}"/>
                </a:ext>
              </a:extLst>
            </p:cNvPr>
            <p:cNvGrpSpPr/>
            <p:nvPr/>
          </p:nvGrpSpPr>
          <p:grpSpPr>
            <a:xfrm>
              <a:off x="8606621" y="3390571"/>
              <a:ext cx="111031" cy="111031"/>
              <a:chOff x="7623889" y="3427199"/>
              <a:chExt cx="280511" cy="280511"/>
            </a:xfrm>
          </p:grpSpPr>
          <p:sp>
            <p:nvSpPr>
              <p:cNvPr id="52" name="Oval 51">
                <a:extLst>
                  <a:ext uri="{FF2B5EF4-FFF2-40B4-BE49-F238E27FC236}">
                    <a16:creationId xmlns:a16="http://schemas.microsoft.com/office/drawing/2014/main" id="{626039F0-0233-4AF3-AFDE-B80927CC3D94}"/>
                  </a:ext>
                </a:extLst>
              </p:cNvPr>
              <p:cNvSpPr/>
              <p:nvPr/>
            </p:nvSpPr>
            <p:spPr bwMode="auto">
              <a:xfrm>
                <a:off x="7686039" y="3489349"/>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D45A2414-330D-48A8-86C8-1A6F5D21C148}"/>
                  </a:ext>
                </a:extLst>
              </p:cNvPr>
              <p:cNvSpPr/>
              <p:nvPr/>
            </p:nvSpPr>
            <p:spPr bwMode="auto">
              <a:xfrm>
                <a:off x="7623889" y="3427199"/>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E1B07E-65E8-40E9-B434-EC0264F67462}"/>
                </a:ext>
              </a:extLst>
            </p:cNvPr>
            <p:cNvGrpSpPr/>
            <p:nvPr/>
          </p:nvGrpSpPr>
          <p:grpSpPr>
            <a:xfrm>
              <a:off x="8161606" y="3029657"/>
              <a:ext cx="157819" cy="157818"/>
              <a:chOff x="6328316" y="3244804"/>
              <a:chExt cx="398716" cy="398714"/>
            </a:xfrm>
          </p:grpSpPr>
          <p:sp>
            <p:nvSpPr>
              <p:cNvPr id="49" name="Oval 48">
                <a:extLst>
                  <a:ext uri="{FF2B5EF4-FFF2-40B4-BE49-F238E27FC236}">
                    <a16:creationId xmlns:a16="http://schemas.microsoft.com/office/drawing/2014/main" id="{3A2804EE-4E84-4EDD-A479-30B89DFF8403}"/>
                  </a:ext>
                </a:extLst>
              </p:cNvPr>
              <p:cNvSpPr/>
              <p:nvPr/>
            </p:nvSpPr>
            <p:spPr bwMode="auto">
              <a:xfrm>
                <a:off x="6449569" y="3366056"/>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0" name="Oval 49">
                <a:extLst>
                  <a:ext uri="{FF2B5EF4-FFF2-40B4-BE49-F238E27FC236}">
                    <a16:creationId xmlns:a16="http://schemas.microsoft.com/office/drawing/2014/main" id="{87C8F5C5-08AD-495E-93BC-93AC385710CF}"/>
                  </a:ext>
                </a:extLst>
              </p:cNvPr>
              <p:cNvSpPr/>
              <p:nvPr/>
            </p:nvSpPr>
            <p:spPr bwMode="auto">
              <a:xfrm>
                <a:off x="6387419" y="3303906"/>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1" name="Oval 50">
                <a:extLst>
                  <a:ext uri="{FF2B5EF4-FFF2-40B4-BE49-F238E27FC236}">
                    <a16:creationId xmlns:a16="http://schemas.microsoft.com/office/drawing/2014/main" id="{20D90231-845B-4D06-BC10-D0AF90E18163}"/>
                  </a:ext>
                </a:extLst>
              </p:cNvPr>
              <p:cNvSpPr/>
              <p:nvPr/>
            </p:nvSpPr>
            <p:spPr bwMode="auto">
              <a:xfrm>
                <a:off x="6328316" y="3244804"/>
                <a:ext cx="398716" cy="398714"/>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C0B46CB9-0A81-4F94-AAE5-4F5E1FDCF405}"/>
                </a:ext>
              </a:extLst>
            </p:cNvPr>
            <p:cNvGrpSpPr/>
            <p:nvPr/>
          </p:nvGrpSpPr>
          <p:grpSpPr>
            <a:xfrm>
              <a:off x="6923554" y="3633396"/>
              <a:ext cx="111031" cy="111031"/>
              <a:chOff x="5317808" y="2595361"/>
              <a:chExt cx="280511" cy="280511"/>
            </a:xfrm>
          </p:grpSpPr>
          <p:sp>
            <p:nvSpPr>
              <p:cNvPr id="47" name="Oval 46">
                <a:extLst>
                  <a:ext uri="{FF2B5EF4-FFF2-40B4-BE49-F238E27FC236}">
                    <a16:creationId xmlns:a16="http://schemas.microsoft.com/office/drawing/2014/main" id="{FB77FEF5-E643-490E-9629-CFDF5CF864B1}"/>
                  </a:ext>
                </a:extLst>
              </p:cNvPr>
              <p:cNvSpPr/>
              <p:nvPr/>
            </p:nvSpPr>
            <p:spPr bwMode="auto">
              <a:xfrm>
                <a:off x="5379958" y="2657511"/>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273539B3-D491-44E2-A7C9-49EE3AAAA795}"/>
                  </a:ext>
                </a:extLst>
              </p:cNvPr>
              <p:cNvSpPr/>
              <p:nvPr/>
            </p:nvSpPr>
            <p:spPr bwMode="auto">
              <a:xfrm>
                <a:off x="5317808" y="2595361"/>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A5886297-9514-454F-905B-1D1AD8A221BD}"/>
                </a:ext>
              </a:extLst>
            </p:cNvPr>
            <p:cNvGrpSpPr/>
            <p:nvPr/>
          </p:nvGrpSpPr>
          <p:grpSpPr>
            <a:xfrm>
              <a:off x="8162522" y="4242182"/>
              <a:ext cx="111031" cy="111031"/>
              <a:chOff x="7623889" y="3427199"/>
              <a:chExt cx="280511" cy="280511"/>
            </a:xfrm>
          </p:grpSpPr>
          <p:sp>
            <p:nvSpPr>
              <p:cNvPr id="45" name="Oval 44">
                <a:extLst>
                  <a:ext uri="{FF2B5EF4-FFF2-40B4-BE49-F238E27FC236}">
                    <a16:creationId xmlns:a16="http://schemas.microsoft.com/office/drawing/2014/main" id="{4879735E-D552-49AC-A089-12A6CBAE14F5}"/>
                  </a:ext>
                </a:extLst>
              </p:cNvPr>
              <p:cNvSpPr/>
              <p:nvPr/>
            </p:nvSpPr>
            <p:spPr bwMode="auto">
              <a:xfrm>
                <a:off x="7686039" y="3489349"/>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6" name="Oval 45">
                <a:extLst>
                  <a:ext uri="{FF2B5EF4-FFF2-40B4-BE49-F238E27FC236}">
                    <a16:creationId xmlns:a16="http://schemas.microsoft.com/office/drawing/2014/main" id="{830976C9-04B2-4B5F-8119-2A789F26BBF8}"/>
                  </a:ext>
                </a:extLst>
              </p:cNvPr>
              <p:cNvSpPr/>
              <p:nvPr/>
            </p:nvSpPr>
            <p:spPr bwMode="auto">
              <a:xfrm>
                <a:off x="7623889" y="3427199"/>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F46E5C4D-83D0-4FA9-8480-00089CE43D96}"/>
                </a:ext>
              </a:extLst>
            </p:cNvPr>
            <p:cNvGrpSpPr/>
            <p:nvPr/>
          </p:nvGrpSpPr>
          <p:grpSpPr>
            <a:xfrm>
              <a:off x="7090365" y="3777885"/>
              <a:ext cx="157819" cy="157818"/>
              <a:chOff x="6328316" y="3244804"/>
              <a:chExt cx="398716" cy="398714"/>
            </a:xfrm>
          </p:grpSpPr>
          <p:sp>
            <p:nvSpPr>
              <p:cNvPr id="42" name="Oval 41">
                <a:extLst>
                  <a:ext uri="{FF2B5EF4-FFF2-40B4-BE49-F238E27FC236}">
                    <a16:creationId xmlns:a16="http://schemas.microsoft.com/office/drawing/2014/main" id="{82C876DD-2258-4198-9CC1-D5CCF9863170}"/>
                  </a:ext>
                </a:extLst>
              </p:cNvPr>
              <p:cNvSpPr/>
              <p:nvPr/>
            </p:nvSpPr>
            <p:spPr bwMode="auto">
              <a:xfrm>
                <a:off x="6449569" y="3366056"/>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B66C053-2691-4946-827C-3A005DD847F2}"/>
                  </a:ext>
                </a:extLst>
              </p:cNvPr>
              <p:cNvSpPr/>
              <p:nvPr/>
            </p:nvSpPr>
            <p:spPr bwMode="auto">
              <a:xfrm>
                <a:off x="6387419" y="3303906"/>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4" name="Oval 43">
                <a:extLst>
                  <a:ext uri="{FF2B5EF4-FFF2-40B4-BE49-F238E27FC236}">
                    <a16:creationId xmlns:a16="http://schemas.microsoft.com/office/drawing/2014/main" id="{395624DC-FAE5-4B8E-8D3F-A0B2347031B3}"/>
                  </a:ext>
                </a:extLst>
              </p:cNvPr>
              <p:cNvSpPr/>
              <p:nvPr/>
            </p:nvSpPr>
            <p:spPr bwMode="auto">
              <a:xfrm>
                <a:off x="6328316" y="3244804"/>
                <a:ext cx="398716" cy="398714"/>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648509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408509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93062499"/>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388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12092"/>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95646722"/>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2736178"/>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55628"/>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553290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418319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621612"/>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632195"/>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24780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440093"/>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4233504"/>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306713"/>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31563964"/>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5260887"/>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5151432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63429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07608319"/>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827081"/>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36825591"/>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767708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567943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278058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97913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92124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8518619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1749031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63" Type="http://schemas.openxmlformats.org/officeDocument/2006/relationships/image" Target="../media/image1.emf"/><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5" Type="http://schemas.openxmlformats.org/officeDocument/2006/relationships/slideLayout" Target="../slideLayouts/slideLayout63.xml"/><Relationship Id="rId61" Type="http://schemas.openxmlformats.org/officeDocument/2006/relationships/slideLayout" Target="../slideLayouts/slideLayout119.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theme" Target="../theme/theme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slideLayout" Target="../slideLayouts/slideLayout11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5.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63" Type="http://schemas.openxmlformats.org/officeDocument/2006/relationships/tags" Target="../tags/tag1.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66" Type="http://schemas.openxmlformats.org/officeDocument/2006/relationships/image" Target="../media/image1.emf"/><Relationship Id="rId5" Type="http://schemas.openxmlformats.org/officeDocument/2006/relationships/slideLayout" Target="../slideLayouts/slideLayout124.xml"/><Relationship Id="rId61" Type="http://schemas.openxmlformats.org/officeDocument/2006/relationships/slideLayout" Target="../slideLayouts/slideLayout180.xml"/><Relationship Id="rId19" Type="http://schemas.openxmlformats.org/officeDocument/2006/relationships/slideLayout" Target="../slideLayouts/slideLayout13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64" Type="http://schemas.openxmlformats.org/officeDocument/2006/relationships/oleObject" Target="../embeddings/oleObject1.bin"/><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62" Type="http://schemas.openxmlformats.org/officeDocument/2006/relationships/theme" Target="../theme/theme3.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slideLayout" Target="../slideLayouts/slideLayout179.xml"/><Relationship Id="rId65" Type="http://schemas.openxmlformats.org/officeDocument/2006/relationships/image" Target="../media/image41.emf"/><Relationship Id="rId4" Type="http://schemas.openxmlformats.org/officeDocument/2006/relationships/slideLayout" Target="../slideLayouts/slideLayout123.xml"/><Relationship Id="rId9" Type="http://schemas.openxmlformats.org/officeDocument/2006/relationships/slideLayout" Target="../slideLayouts/slideLayout128.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9" Type="http://schemas.openxmlformats.org/officeDocument/2006/relationships/slideLayout" Target="../slideLayouts/slideLayout15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image" Target="../media/image1.emf"/><Relationship Id="rId7" Type="http://schemas.openxmlformats.org/officeDocument/2006/relationships/slideLayout" Target="../slideLayouts/slideLayout18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9" Type="http://schemas.openxmlformats.org/officeDocument/2006/relationships/slideLayout" Target="../slideLayouts/slideLayout209.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theme" Target="../theme/theme4.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8" Type="http://schemas.openxmlformats.org/officeDocument/2006/relationships/slideLayout" Target="../slideLayouts/slideLayout188.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20" Type="http://schemas.openxmlformats.org/officeDocument/2006/relationships/slideLayout" Target="../slideLayouts/slideLayout200.xml"/><Relationship Id="rId41" Type="http://schemas.openxmlformats.org/officeDocument/2006/relationships/slideLayout" Target="../slideLayouts/slideLayout221.xml"/><Relationship Id="rId1" Type="http://schemas.openxmlformats.org/officeDocument/2006/relationships/slideLayout" Target="../slideLayouts/slideLayout181.xml"/><Relationship Id="rId6" Type="http://schemas.openxmlformats.org/officeDocument/2006/relationships/slideLayout" Target="../slideLayouts/slideLayout18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54.xml"/><Relationship Id="rId21" Type="http://schemas.openxmlformats.org/officeDocument/2006/relationships/slideLayout" Target="../slideLayouts/slideLayout249.xml"/><Relationship Id="rId42" Type="http://schemas.openxmlformats.org/officeDocument/2006/relationships/slideLayout" Target="../slideLayouts/slideLayout270.xml"/><Relationship Id="rId47" Type="http://schemas.openxmlformats.org/officeDocument/2006/relationships/slideLayout" Target="../slideLayouts/slideLayout275.xml"/><Relationship Id="rId63" Type="http://schemas.openxmlformats.org/officeDocument/2006/relationships/slideLayout" Target="../slideLayouts/slideLayout291.xml"/><Relationship Id="rId68" Type="http://schemas.openxmlformats.org/officeDocument/2006/relationships/slideLayout" Target="../slideLayouts/slideLayout296.xml"/><Relationship Id="rId16" Type="http://schemas.openxmlformats.org/officeDocument/2006/relationships/slideLayout" Target="../slideLayouts/slideLayout244.xml"/><Relationship Id="rId11" Type="http://schemas.openxmlformats.org/officeDocument/2006/relationships/slideLayout" Target="../slideLayouts/slideLayout239.xml"/><Relationship Id="rId32" Type="http://schemas.openxmlformats.org/officeDocument/2006/relationships/slideLayout" Target="../slideLayouts/slideLayout260.xml"/><Relationship Id="rId37" Type="http://schemas.openxmlformats.org/officeDocument/2006/relationships/slideLayout" Target="../slideLayouts/slideLayout265.xml"/><Relationship Id="rId53" Type="http://schemas.openxmlformats.org/officeDocument/2006/relationships/slideLayout" Target="../slideLayouts/slideLayout281.xml"/><Relationship Id="rId58" Type="http://schemas.openxmlformats.org/officeDocument/2006/relationships/slideLayout" Target="../slideLayouts/slideLayout286.xml"/><Relationship Id="rId74" Type="http://schemas.openxmlformats.org/officeDocument/2006/relationships/slideLayout" Target="../slideLayouts/slideLayout302.xml"/><Relationship Id="rId79" Type="http://schemas.openxmlformats.org/officeDocument/2006/relationships/slideLayout" Target="../slideLayouts/slideLayout307.xml"/><Relationship Id="rId5" Type="http://schemas.openxmlformats.org/officeDocument/2006/relationships/slideLayout" Target="../slideLayouts/slideLayout233.xml"/><Relationship Id="rId61" Type="http://schemas.openxmlformats.org/officeDocument/2006/relationships/slideLayout" Target="../slideLayouts/slideLayout289.xml"/><Relationship Id="rId82" Type="http://schemas.openxmlformats.org/officeDocument/2006/relationships/theme" Target="../theme/theme5.xml"/><Relationship Id="rId19" Type="http://schemas.openxmlformats.org/officeDocument/2006/relationships/slideLayout" Target="../slideLayouts/slideLayout24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slideLayout" Target="../slideLayouts/slideLayout255.xml"/><Relationship Id="rId30" Type="http://schemas.openxmlformats.org/officeDocument/2006/relationships/slideLayout" Target="../slideLayouts/slideLayout258.xml"/><Relationship Id="rId35" Type="http://schemas.openxmlformats.org/officeDocument/2006/relationships/slideLayout" Target="../slideLayouts/slideLayout263.xml"/><Relationship Id="rId43" Type="http://schemas.openxmlformats.org/officeDocument/2006/relationships/slideLayout" Target="../slideLayouts/slideLayout271.xml"/><Relationship Id="rId48" Type="http://schemas.openxmlformats.org/officeDocument/2006/relationships/slideLayout" Target="../slideLayouts/slideLayout276.xml"/><Relationship Id="rId56" Type="http://schemas.openxmlformats.org/officeDocument/2006/relationships/slideLayout" Target="../slideLayouts/slideLayout284.xml"/><Relationship Id="rId64" Type="http://schemas.openxmlformats.org/officeDocument/2006/relationships/slideLayout" Target="../slideLayouts/slideLayout292.xml"/><Relationship Id="rId69" Type="http://schemas.openxmlformats.org/officeDocument/2006/relationships/slideLayout" Target="../slideLayouts/slideLayout297.xml"/><Relationship Id="rId77" Type="http://schemas.openxmlformats.org/officeDocument/2006/relationships/slideLayout" Target="../slideLayouts/slideLayout305.xml"/><Relationship Id="rId8" Type="http://schemas.openxmlformats.org/officeDocument/2006/relationships/slideLayout" Target="../slideLayouts/slideLayout236.xml"/><Relationship Id="rId51" Type="http://schemas.openxmlformats.org/officeDocument/2006/relationships/slideLayout" Target="../slideLayouts/slideLayout279.xml"/><Relationship Id="rId72" Type="http://schemas.openxmlformats.org/officeDocument/2006/relationships/slideLayout" Target="../slideLayouts/slideLayout300.xml"/><Relationship Id="rId80" Type="http://schemas.openxmlformats.org/officeDocument/2006/relationships/slideLayout" Target="../slideLayouts/slideLayout308.xml"/><Relationship Id="rId3" Type="http://schemas.openxmlformats.org/officeDocument/2006/relationships/slideLayout" Target="../slideLayouts/slideLayout231.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33" Type="http://schemas.openxmlformats.org/officeDocument/2006/relationships/slideLayout" Target="../slideLayouts/slideLayout261.xml"/><Relationship Id="rId38" Type="http://schemas.openxmlformats.org/officeDocument/2006/relationships/slideLayout" Target="../slideLayouts/slideLayout266.xml"/><Relationship Id="rId46" Type="http://schemas.openxmlformats.org/officeDocument/2006/relationships/slideLayout" Target="../slideLayouts/slideLayout274.xml"/><Relationship Id="rId59" Type="http://schemas.openxmlformats.org/officeDocument/2006/relationships/slideLayout" Target="../slideLayouts/slideLayout287.xml"/><Relationship Id="rId67" Type="http://schemas.openxmlformats.org/officeDocument/2006/relationships/slideLayout" Target="../slideLayouts/slideLayout295.xml"/><Relationship Id="rId20" Type="http://schemas.openxmlformats.org/officeDocument/2006/relationships/slideLayout" Target="../slideLayouts/slideLayout248.xml"/><Relationship Id="rId41" Type="http://schemas.openxmlformats.org/officeDocument/2006/relationships/slideLayout" Target="../slideLayouts/slideLayout269.xml"/><Relationship Id="rId54" Type="http://schemas.openxmlformats.org/officeDocument/2006/relationships/slideLayout" Target="../slideLayouts/slideLayout282.xml"/><Relationship Id="rId62" Type="http://schemas.openxmlformats.org/officeDocument/2006/relationships/slideLayout" Target="../slideLayouts/slideLayout290.xml"/><Relationship Id="rId70" Type="http://schemas.openxmlformats.org/officeDocument/2006/relationships/slideLayout" Target="../slideLayouts/slideLayout298.xml"/><Relationship Id="rId75" Type="http://schemas.openxmlformats.org/officeDocument/2006/relationships/slideLayout" Target="../slideLayouts/slideLayout303.xml"/><Relationship Id="rId83" Type="http://schemas.openxmlformats.org/officeDocument/2006/relationships/image" Target="../media/image1.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slideLayout" Target="../slideLayouts/slideLayout256.xml"/><Relationship Id="rId36" Type="http://schemas.openxmlformats.org/officeDocument/2006/relationships/slideLayout" Target="../slideLayouts/slideLayout264.xml"/><Relationship Id="rId49" Type="http://schemas.openxmlformats.org/officeDocument/2006/relationships/slideLayout" Target="../slideLayouts/slideLayout277.xml"/><Relationship Id="rId57" Type="http://schemas.openxmlformats.org/officeDocument/2006/relationships/slideLayout" Target="../slideLayouts/slideLayout285.xml"/><Relationship Id="rId10" Type="http://schemas.openxmlformats.org/officeDocument/2006/relationships/slideLayout" Target="../slideLayouts/slideLayout238.xml"/><Relationship Id="rId31" Type="http://schemas.openxmlformats.org/officeDocument/2006/relationships/slideLayout" Target="../slideLayouts/slideLayout259.xml"/><Relationship Id="rId44" Type="http://schemas.openxmlformats.org/officeDocument/2006/relationships/slideLayout" Target="../slideLayouts/slideLayout272.xml"/><Relationship Id="rId52" Type="http://schemas.openxmlformats.org/officeDocument/2006/relationships/slideLayout" Target="../slideLayouts/slideLayout280.xml"/><Relationship Id="rId60" Type="http://schemas.openxmlformats.org/officeDocument/2006/relationships/slideLayout" Target="../slideLayouts/slideLayout288.xml"/><Relationship Id="rId65" Type="http://schemas.openxmlformats.org/officeDocument/2006/relationships/slideLayout" Target="../slideLayouts/slideLayout293.xml"/><Relationship Id="rId73" Type="http://schemas.openxmlformats.org/officeDocument/2006/relationships/slideLayout" Target="../slideLayouts/slideLayout301.xml"/><Relationship Id="rId78" Type="http://schemas.openxmlformats.org/officeDocument/2006/relationships/slideLayout" Target="../slideLayouts/slideLayout306.xml"/><Relationship Id="rId81" Type="http://schemas.openxmlformats.org/officeDocument/2006/relationships/slideLayout" Target="../slideLayouts/slideLayout309.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9" Type="http://schemas.openxmlformats.org/officeDocument/2006/relationships/slideLayout" Target="../slideLayouts/slideLayout267.xml"/><Relationship Id="rId34" Type="http://schemas.openxmlformats.org/officeDocument/2006/relationships/slideLayout" Target="../slideLayouts/slideLayout262.xml"/><Relationship Id="rId50" Type="http://schemas.openxmlformats.org/officeDocument/2006/relationships/slideLayout" Target="../slideLayouts/slideLayout278.xml"/><Relationship Id="rId55" Type="http://schemas.openxmlformats.org/officeDocument/2006/relationships/slideLayout" Target="../slideLayouts/slideLayout283.xml"/><Relationship Id="rId76" Type="http://schemas.openxmlformats.org/officeDocument/2006/relationships/slideLayout" Target="../slideLayouts/slideLayout304.xml"/><Relationship Id="rId7" Type="http://schemas.openxmlformats.org/officeDocument/2006/relationships/slideLayout" Target="../slideLayouts/slideLayout235.xml"/><Relationship Id="rId71" Type="http://schemas.openxmlformats.org/officeDocument/2006/relationships/slideLayout" Target="../slideLayouts/slideLayout299.xml"/><Relationship Id="rId2" Type="http://schemas.openxmlformats.org/officeDocument/2006/relationships/slideLayout" Target="../slideLayouts/slideLayout230.xml"/><Relationship Id="rId29" Type="http://schemas.openxmlformats.org/officeDocument/2006/relationships/slideLayout" Target="../slideLayouts/slideLayout257.xml"/><Relationship Id="rId24" Type="http://schemas.openxmlformats.org/officeDocument/2006/relationships/slideLayout" Target="../slideLayouts/slideLayout252.xml"/><Relationship Id="rId40" Type="http://schemas.openxmlformats.org/officeDocument/2006/relationships/slideLayout" Target="../slideLayouts/slideLayout268.xml"/><Relationship Id="rId45" Type="http://schemas.openxmlformats.org/officeDocument/2006/relationships/slideLayout" Target="../slideLayouts/slideLayout273.xml"/><Relationship Id="rId66" Type="http://schemas.openxmlformats.org/officeDocument/2006/relationships/slideLayout" Target="../slideLayouts/slideLayout2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35.xml"/><Relationship Id="rId117" Type="http://schemas.openxmlformats.org/officeDocument/2006/relationships/slideLayout" Target="../slideLayouts/slideLayout426.xml"/><Relationship Id="rId21" Type="http://schemas.openxmlformats.org/officeDocument/2006/relationships/slideLayout" Target="../slideLayouts/slideLayout330.xml"/><Relationship Id="rId42" Type="http://schemas.openxmlformats.org/officeDocument/2006/relationships/slideLayout" Target="../slideLayouts/slideLayout351.xml"/><Relationship Id="rId47" Type="http://schemas.openxmlformats.org/officeDocument/2006/relationships/slideLayout" Target="../slideLayouts/slideLayout356.xml"/><Relationship Id="rId63" Type="http://schemas.openxmlformats.org/officeDocument/2006/relationships/slideLayout" Target="../slideLayouts/slideLayout372.xml"/><Relationship Id="rId68" Type="http://schemas.openxmlformats.org/officeDocument/2006/relationships/slideLayout" Target="../slideLayouts/slideLayout377.xml"/><Relationship Id="rId84" Type="http://schemas.openxmlformats.org/officeDocument/2006/relationships/slideLayout" Target="../slideLayouts/slideLayout393.xml"/><Relationship Id="rId89" Type="http://schemas.openxmlformats.org/officeDocument/2006/relationships/slideLayout" Target="../slideLayouts/slideLayout398.xml"/><Relationship Id="rId112" Type="http://schemas.openxmlformats.org/officeDocument/2006/relationships/slideLayout" Target="../slideLayouts/slideLayout421.xml"/><Relationship Id="rId16" Type="http://schemas.openxmlformats.org/officeDocument/2006/relationships/slideLayout" Target="../slideLayouts/slideLayout325.xml"/><Relationship Id="rId107" Type="http://schemas.openxmlformats.org/officeDocument/2006/relationships/slideLayout" Target="../slideLayouts/slideLayout416.xml"/><Relationship Id="rId11" Type="http://schemas.openxmlformats.org/officeDocument/2006/relationships/slideLayout" Target="../slideLayouts/slideLayout320.xml"/><Relationship Id="rId32" Type="http://schemas.openxmlformats.org/officeDocument/2006/relationships/slideLayout" Target="../slideLayouts/slideLayout341.xml"/><Relationship Id="rId37" Type="http://schemas.openxmlformats.org/officeDocument/2006/relationships/slideLayout" Target="../slideLayouts/slideLayout346.xml"/><Relationship Id="rId53" Type="http://schemas.openxmlformats.org/officeDocument/2006/relationships/slideLayout" Target="../slideLayouts/slideLayout362.xml"/><Relationship Id="rId58" Type="http://schemas.openxmlformats.org/officeDocument/2006/relationships/slideLayout" Target="../slideLayouts/slideLayout367.xml"/><Relationship Id="rId74" Type="http://schemas.openxmlformats.org/officeDocument/2006/relationships/slideLayout" Target="../slideLayouts/slideLayout383.xml"/><Relationship Id="rId79" Type="http://schemas.openxmlformats.org/officeDocument/2006/relationships/slideLayout" Target="../slideLayouts/slideLayout388.xml"/><Relationship Id="rId102" Type="http://schemas.openxmlformats.org/officeDocument/2006/relationships/slideLayout" Target="../slideLayouts/slideLayout411.xml"/><Relationship Id="rId5" Type="http://schemas.openxmlformats.org/officeDocument/2006/relationships/slideLayout" Target="../slideLayouts/slideLayout314.xml"/><Relationship Id="rId90" Type="http://schemas.openxmlformats.org/officeDocument/2006/relationships/slideLayout" Target="../slideLayouts/slideLayout399.xml"/><Relationship Id="rId95" Type="http://schemas.openxmlformats.org/officeDocument/2006/relationships/slideLayout" Target="../slideLayouts/slideLayout404.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43" Type="http://schemas.openxmlformats.org/officeDocument/2006/relationships/slideLayout" Target="../slideLayouts/slideLayout352.xml"/><Relationship Id="rId48" Type="http://schemas.openxmlformats.org/officeDocument/2006/relationships/slideLayout" Target="../slideLayouts/slideLayout357.xml"/><Relationship Id="rId64" Type="http://schemas.openxmlformats.org/officeDocument/2006/relationships/slideLayout" Target="../slideLayouts/slideLayout373.xml"/><Relationship Id="rId69" Type="http://schemas.openxmlformats.org/officeDocument/2006/relationships/slideLayout" Target="../slideLayouts/slideLayout378.xml"/><Relationship Id="rId113" Type="http://schemas.openxmlformats.org/officeDocument/2006/relationships/slideLayout" Target="../slideLayouts/slideLayout422.xml"/><Relationship Id="rId118" Type="http://schemas.openxmlformats.org/officeDocument/2006/relationships/slideLayout" Target="../slideLayouts/slideLayout427.xml"/><Relationship Id="rId80" Type="http://schemas.openxmlformats.org/officeDocument/2006/relationships/slideLayout" Target="../slideLayouts/slideLayout389.xml"/><Relationship Id="rId85" Type="http://schemas.openxmlformats.org/officeDocument/2006/relationships/slideLayout" Target="../slideLayouts/slideLayout394.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33" Type="http://schemas.openxmlformats.org/officeDocument/2006/relationships/slideLayout" Target="../slideLayouts/slideLayout342.xml"/><Relationship Id="rId38" Type="http://schemas.openxmlformats.org/officeDocument/2006/relationships/slideLayout" Target="../slideLayouts/slideLayout347.xml"/><Relationship Id="rId59" Type="http://schemas.openxmlformats.org/officeDocument/2006/relationships/slideLayout" Target="../slideLayouts/slideLayout368.xml"/><Relationship Id="rId103" Type="http://schemas.openxmlformats.org/officeDocument/2006/relationships/slideLayout" Target="../slideLayouts/slideLayout412.xml"/><Relationship Id="rId108" Type="http://schemas.openxmlformats.org/officeDocument/2006/relationships/slideLayout" Target="../slideLayouts/slideLayout417.xml"/><Relationship Id="rId54" Type="http://schemas.openxmlformats.org/officeDocument/2006/relationships/slideLayout" Target="../slideLayouts/slideLayout363.xml"/><Relationship Id="rId70" Type="http://schemas.openxmlformats.org/officeDocument/2006/relationships/slideLayout" Target="../slideLayouts/slideLayout379.xml"/><Relationship Id="rId75" Type="http://schemas.openxmlformats.org/officeDocument/2006/relationships/slideLayout" Target="../slideLayouts/slideLayout384.xml"/><Relationship Id="rId91" Type="http://schemas.openxmlformats.org/officeDocument/2006/relationships/slideLayout" Target="../slideLayouts/slideLayout400.xml"/><Relationship Id="rId96" Type="http://schemas.openxmlformats.org/officeDocument/2006/relationships/slideLayout" Target="../slideLayouts/slideLayout40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49" Type="http://schemas.openxmlformats.org/officeDocument/2006/relationships/slideLayout" Target="../slideLayouts/slideLayout358.xml"/><Relationship Id="rId114" Type="http://schemas.openxmlformats.org/officeDocument/2006/relationships/slideLayout" Target="../slideLayouts/slideLayout423.xml"/><Relationship Id="rId119" Type="http://schemas.openxmlformats.org/officeDocument/2006/relationships/slideLayout" Target="../slideLayouts/slideLayout428.xml"/><Relationship Id="rId44" Type="http://schemas.openxmlformats.org/officeDocument/2006/relationships/slideLayout" Target="../slideLayouts/slideLayout353.xml"/><Relationship Id="rId60" Type="http://schemas.openxmlformats.org/officeDocument/2006/relationships/slideLayout" Target="../slideLayouts/slideLayout369.xml"/><Relationship Id="rId65" Type="http://schemas.openxmlformats.org/officeDocument/2006/relationships/slideLayout" Target="../slideLayouts/slideLayout374.xml"/><Relationship Id="rId81" Type="http://schemas.openxmlformats.org/officeDocument/2006/relationships/slideLayout" Target="../slideLayouts/slideLayout390.xml"/><Relationship Id="rId86" Type="http://schemas.openxmlformats.org/officeDocument/2006/relationships/slideLayout" Target="../slideLayouts/slideLayout395.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9" Type="http://schemas.openxmlformats.org/officeDocument/2006/relationships/slideLayout" Target="../slideLayouts/slideLayout348.xml"/><Relationship Id="rId109" Type="http://schemas.openxmlformats.org/officeDocument/2006/relationships/slideLayout" Target="../slideLayouts/slideLayout418.xml"/><Relationship Id="rId34" Type="http://schemas.openxmlformats.org/officeDocument/2006/relationships/slideLayout" Target="../slideLayouts/slideLayout343.xml"/><Relationship Id="rId50" Type="http://schemas.openxmlformats.org/officeDocument/2006/relationships/slideLayout" Target="../slideLayouts/slideLayout359.xml"/><Relationship Id="rId55" Type="http://schemas.openxmlformats.org/officeDocument/2006/relationships/slideLayout" Target="../slideLayouts/slideLayout364.xml"/><Relationship Id="rId76" Type="http://schemas.openxmlformats.org/officeDocument/2006/relationships/slideLayout" Target="../slideLayouts/slideLayout385.xml"/><Relationship Id="rId97" Type="http://schemas.openxmlformats.org/officeDocument/2006/relationships/slideLayout" Target="../slideLayouts/slideLayout406.xml"/><Relationship Id="rId104" Type="http://schemas.openxmlformats.org/officeDocument/2006/relationships/slideLayout" Target="../slideLayouts/slideLayout413.xml"/><Relationship Id="rId120" Type="http://schemas.openxmlformats.org/officeDocument/2006/relationships/theme" Target="../theme/theme6.xml"/><Relationship Id="rId7" Type="http://schemas.openxmlformats.org/officeDocument/2006/relationships/slideLayout" Target="../slideLayouts/slideLayout316.xml"/><Relationship Id="rId71" Type="http://schemas.openxmlformats.org/officeDocument/2006/relationships/slideLayout" Target="../slideLayouts/slideLayout380.xml"/><Relationship Id="rId92" Type="http://schemas.openxmlformats.org/officeDocument/2006/relationships/slideLayout" Target="../slideLayouts/slideLayout401.xml"/><Relationship Id="rId2" Type="http://schemas.openxmlformats.org/officeDocument/2006/relationships/slideLayout" Target="../slideLayouts/slideLayout311.xml"/><Relationship Id="rId29" Type="http://schemas.openxmlformats.org/officeDocument/2006/relationships/slideLayout" Target="../slideLayouts/slideLayout338.xml"/><Relationship Id="rId24" Type="http://schemas.openxmlformats.org/officeDocument/2006/relationships/slideLayout" Target="../slideLayouts/slideLayout333.xml"/><Relationship Id="rId40" Type="http://schemas.openxmlformats.org/officeDocument/2006/relationships/slideLayout" Target="../slideLayouts/slideLayout349.xml"/><Relationship Id="rId45" Type="http://schemas.openxmlformats.org/officeDocument/2006/relationships/slideLayout" Target="../slideLayouts/slideLayout354.xml"/><Relationship Id="rId66" Type="http://schemas.openxmlformats.org/officeDocument/2006/relationships/slideLayout" Target="../slideLayouts/slideLayout375.xml"/><Relationship Id="rId87" Type="http://schemas.openxmlformats.org/officeDocument/2006/relationships/slideLayout" Target="../slideLayouts/slideLayout396.xml"/><Relationship Id="rId110" Type="http://schemas.openxmlformats.org/officeDocument/2006/relationships/slideLayout" Target="../slideLayouts/slideLayout419.xml"/><Relationship Id="rId115" Type="http://schemas.openxmlformats.org/officeDocument/2006/relationships/slideLayout" Target="../slideLayouts/slideLayout424.xml"/><Relationship Id="rId61" Type="http://schemas.openxmlformats.org/officeDocument/2006/relationships/slideLayout" Target="../slideLayouts/slideLayout370.xml"/><Relationship Id="rId82" Type="http://schemas.openxmlformats.org/officeDocument/2006/relationships/slideLayout" Target="../slideLayouts/slideLayout391.xml"/><Relationship Id="rId19" Type="http://schemas.openxmlformats.org/officeDocument/2006/relationships/slideLayout" Target="../slideLayouts/slideLayout328.xml"/><Relationship Id="rId14" Type="http://schemas.openxmlformats.org/officeDocument/2006/relationships/slideLayout" Target="../slideLayouts/slideLayout323.xml"/><Relationship Id="rId30" Type="http://schemas.openxmlformats.org/officeDocument/2006/relationships/slideLayout" Target="../slideLayouts/slideLayout339.xml"/><Relationship Id="rId35" Type="http://schemas.openxmlformats.org/officeDocument/2006/relationships/slideLayout" Target="../slideLayouts/slideLayout344.xml"/><Relationship Id="rId56" Type="http://schemas.openxmlformats.org/officeDocument/2006/relationships/slideLayout" Target="../slideLayouts/slideLayout365.xml"/><Relationship Id="rId77" Type="http://schemas.openxmlformats.org/officeDocument/2006/relationships/slideLayout" Target="../slideLayouts/slideLayout386.xml"/><Relationship Id="rId100" Type="http://schemas.openxmlformats.org/officeDocument/2006/relationships/slideLayout" Target="../slideLayouts/slideLayout409.xml"/><Relationship Id="rId105" Type="http://schemas.openxmlformats.org/officeDocument/2006/relationships/slideLayout" Target="../slideLayouts/slideLayout414.xml"/><Relationship Id="rId8" Type="http://schemas.openxmlformats.org/officeDocument/2006/relationships/slideLayout" Target="../slideLayouts/slideLayout317.xml"/><Relationship Id="rId51" Type="http://schemas.openxmlformats.org/officeDocument/2006/relationships/slideLayout" Target="../slideLayouts/slideLayout360.xml"/><Relationship Id="rId72" Type="http://schemas.openxmlformats.org/officeDocument/2006/relationships/slideLayout" Target="../slideLayouts/slideLayout381.xml"/><Relationship Id="rId93" Type="http://schemas.openxmlformats.org/officeDocument/2006/relationships/slideLayout" Target="../slideLayouts/slideLayout402.xml"/><Relationship Id="rId98" Type="http://schemas.openxmlformats.org/officeDocument/2006/relationships/slideLayout" Target="../slideLayouts/slideLayout407.xml"/><Relationship Id="rId121" Type="http://schemas.openxmlformats.org/officeDocument/2006/relationships/image" Target="../media/image1.emf"/><Relationship Id="rId3" Type="http://schemas.openxmlformats.org/officeDocument/2006/relationships/slideLayout" Target="../slideLayouts/slideLayout312.xml"/><Relationship Id="rId25" Type="http://schemas.openxmlformats.org/officeDocument/2006/relationships/slideLayout" Target="../slideLayouts/slideLayout334.xml"/><Relationship Id="rId46" Type="http://schemas.openxmlformats.org/officeDocument/2006/relationships/slideLayout" Target="../slideLayouts/slideLayout355.xml"/><Relationship Id="rId67" Type="http://schemas.openxmlformats.org/officeDocument/2006/relationships/slideLayout" Target="../slideLayouts/slideLayout376.xml"/><Relationship Id="rId116" Type="http://schemas.openxmlformats.org/officeDocument/2006/relationships/slideLayout" Target="../slideLayouts/slideLayout425.xml"/><Relationship Id="rId20" Type="http://schemas.openxmlformats.org/officeDocument/2006/relationships/slideLayout" Target="../slideLayouts/slideLayout329.xml"/><Relationship Id="rId41" Type="http://schemas.openxmlformats.org/officeDocument/2006/relationships/slideLayout" Target="../slideLayouts/slideLayout350.xml"/><Relationship Id="rId62" Type="http://schemas.openxmlformats.org/officeDocument/2006/relationships/slideLayout" Target="../slideLayouts/slideLayout371.xml"/><Relationship Id="rId83" Type="http://schemas.openxmlformats.org/officeDocument/2006/relationships/slideLayout" Target="../slideLayouts/slideLayout392.xml"/><Relationship Id="rId88" Type="http://schemas.openxmlformats.org/officeDocument/2006/relationships/slideLayout" Target="../slideLayouts/slideLayout397.xml"/><Relationship Id="rId111" Type="http://schemas.openxmlformats.org/officeDocument/2006/relationships/slideLayout" Target="../slideLayouts/slideLayout420.xml"/><Relationship Id="rId15" Type="http://schemas.openxmlformats.org/officeDocument/2006/relationships/slideLayout" Target="../slideLayouts/slideLayout324.xml"/><Relationship Id="rId36" Type="http://schemas.openxmlformats.org/officeDocument/2006/relationships/slideLayout" Target="../slideLayouts/slideLayout345.xml"/><Relationship Id="rId57" Type="http://schemas.openxmlformats.org/officeDocument/2006/relationships/slideLayout" Target="../slideLayouts/slideLayout366.xml"/><Relationship Id="rId106" Type="http://schemas.openxmlformats.org/officeDocument/2006/relationships/slideLayout" Target="../slideLayouts/slideLayout415.xml"/><Relationship Id="rId10" Type="http://schemas.openxmlformats.org/officeDocument/2006/relationships/slideLayout" Target="../slideLayouts/slideLayout319.xml"/><Relationship Id="rId31" Type="http://schemas.openxmlformats.org/officeDocument/2006/relationships/slideLayout" Target="../slideLayouts/slideLayout340.xml"/><Relationship Id="rId52" Type="http://schemas.openxmlformats.org/officeDocument/2006/relationships/slideLayout" Target="../slideLayouts/slideLayout361.xml"/><Relationship Id="rId73" Type="http://schemas.openxmlformats.org/officeDocument/2006/relationships/slideLayout" Target="../slideLayouts/slideLayout382.xml"/><Relationship Id="rId78" Type="http://schemas.openxmlformats.org/officeDocument/2006/relationships/slideLayout" Target="../slideLayouts/slideLayout387.xml"/><Relationship Id="rId94" Type="http://schemas.openxmlformats.org/officeDocument/2006/relationships/slideLayout" Target="../slideLayouts/slideLayout403.xml"/><Relationship Id="rId99" Type="http://schemas.openxmlformats.org/officeDocument/2006/relationships/slideLayout" Target="../slideLayouts/slideLayout408.xml"/><Relationship Id="rId101" Type="http://schemas.openxmlformats.org/officeDocument/2006/relationships/slideLayout" Target="../slideLayouts/slideLayout4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 Type="http://schemas.openxmlformats.org/officeDocument/2006/relationships/slideLayout" Target="../slideLayouts/slideLayout431.xml"/><Relationship Id="rId21" Type="http://schemas.openxmlformats.org/officeDocument/2006/relationships/slideLayout" Target="../slideLayouts/slideLayout449.xml"/><Relationship Id="rId7" Type="http://schemas.openxmlformats.org/officeDocument/2006/relationships/slideLayout" Target="../slideLayouts/slideLayout435.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32" Type="http://schemas.openxmlformats.org/officeDocument/2006/relationships/theme" Target="../theme/theme7.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slideLayout" Target="../slideLayouts/slideLayout459.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slideLayout" Target="../slideLayouts/slideLayout4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07685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 id="2147483713" r:id="rId35"/>
    <p:sldLayoutId id="2147483714" r:id="rId36"/>
    <p:sldLayoutId id="2147483715" r:id="rId37"/>
    <p:sldLayoutId id="2147483716" r:id="rId38"/>
    <p:sldLayoutId id="2147483717" r:id="rId39"/>
    <p:sldLayoutId id="2147483718" r:id="rId40"/>
    <p:sldLayoutId id="2147483719" r:id="rId41"/>
    <p:sldLayoutId id="2147483720" r:id="rId42"/>
    <p:sldLayoutId id="2147483721" r:id="rId43"/>
    <p:sldLayoutId id="2147483722" r:id="rId44"/>
    <p:sldLayoutId id="2147483723" r:id="rId45"/>
    <p:sldLayoutId id="2147483724" r:id="rId46"/>
    <p:sldLayoutId id="2147483725" r:id="rId47"/>
    <p:sldLayoutId id="2147483726" r:id="rId48"/>
    <p:sldLayoutId id="2147483727" r:id="rId49"/>
    <p:sldLayoutId id="2147483728" r:id="rId50"/>
    <p:sldLayoutId id="2147483729" r:id="rId51"/>
    <p:sldLayoutId id="2147483730" r:id="rId52"/>
    <p:sldLayoutId id="2147483731" r:id="rId53"/>
    <p:sldLayoutId id="2147483732" r:id="rId54"/>
    <p:sldLayoutId id="2147483734" r:id="rId55"/>
    <p:sldLayoutId id="2147483735" r:id="rId56"/>
    <p:sldLayoutId id="2147483736" r:id="rId57"/>
    <p:sldLayoutId id="2147483660" r:id="rId5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3" cstate="print">
            <a:extLst>
              <a:ext uri="{28A0092B-C50C-407E-A947-70E740481C1C}">
                <a14:useLocalDpi xmlns:a14="http://schemas.microsoft.com/office/drawing/2010/main" val="0"/>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25848492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 id="2147483807" r:id="rId52"/>
    <p:sldLayoutId id="2147483808" r:id="rId53"/>
    <p:sldLayoutId id="2147483809" r:id="rId54"/>
    <p:sldLayoutId id="2147483810" r:id="rId55"/>
    <p:sldLayoutId id="2147483811" r:id="rId56"/>
    <p:sldLayoutId id="2147483812" r:id="rId57"/>
    <p:sldLayoutId id="2147483813" r:id="rId58"/>
    <p:sldLayoutId id="2147483814" r:id="rId59"/>
    <p:sldLayoutId id="2147483816" r:id="rId60"/>
    <p:sldLayoutId id="2147483817" r:id="rId61"/>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68D343-86A9-18AE-1CB4-C3B7F370ACDC}"/>
              </a:ext>
            </a:extLst>
          </p:cNvPr>
          <p:cNvGraphicFramePr>
            <a:graphicFrameLocks noChangeAspect="1"/>
          </p:cNvGraphicFramePr>
          <p:nvPr>
            <p:custDataLst>
              <p:tags r:id="rId63"/>
            </p:custDataLst>
            <p:extLst>
              <p:ext uri="{D42A27DB-BD31-4B8C-83A1-F6EECF244321}">
                <p14:modId xmlns:p14="http://schemas.microsoft.com/office/powerpoint/2010/main" val="368943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606" imgH="608" progId="TCLayout.ActiveDocument.1">
                  <p:embed/>
                </p:oleObj>
              </mc:Choice>
              <mc:Fallback>
                <p:oleObj name="think-cell Slide" r:id="rId64" imgW="606" imgH="608" progId="TCLayout.ActiveDocument.1">
                  <p:embed/>
                  <p:pic>
                    <p:nvPicPr>
                      <p:cNvPr id="6" name="think-cell data - do not delete" hidden="1">
                        <a:extLst>
                          <a:ext uri="{FF2B5EF4-FFF2-40B4-BE49-F238E27FC236}">
                            <a16:creationId xmlns:a16="http://schemas.microsoft.com/office/drawing/2014/main" id="{1368D343-86A9-18AE-1CB4-C3B7F370ACDC}"/>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0370987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8"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 id="2147483884" r:id="rId42"/>
    <p:sldLayoutId id="2147483885" r:id="rId43"/>
    <p:sldLayoutId id="2147483886" r:id="rId44"/>
    <p:sldLayoutId id="2147483887" r:id="rId45"/>
    <p:sldLayoutId id="2147483888" r:id="rId46"/>
    <p:sldLayoutId id="2147483889" r:id="rId47"/>
    <p:sldLayoutId id="2147483890" r:id="rId48"/>
    <p:sldLayoutId id="2147483891" r:id="rId49"/>
    <p:sldLayoutId id="2147483892" r:id="rId50"/>
    <p:sldLayoutId id="2147483893" r:id="rId51"/>
    <p:sldLayoutId id="2147483894" r:id="rId52"/>
    <p:sldLayoutId id="2147483895" r:id="rId53"/>
    <p:sldLayoutId id="2147483896" r:id="rId54"/>
    <p:sldLayoutId id="2147483897" r:id="rId55"/>
    <p:sldLayoutId id="2147483898" r:id="rId56"/>
    <p:sldLayoutId id="2147483899" r:id="rId57"/>
    <p:sldLayoutId id="2147483900" r:id="rId58"/>
    <p:sldLayoutId id="2147483901" r:id="rId59"/>
    <p:sldLayoutId id="2147483902" r:id="rId60"/>
    <p:sldLayoutId id="2147483903" r:id="rId6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7984220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 id="2147483982" r:id="rId46"/>
    <p:sldLayoutId id="2147483984" r:id="rId47"/>
    <p:sldLayoutId id="2147483985"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026487665"/>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 id="2147484033" r:id="rId47"/>
    <p:sldLayoutId id="2147484034" r:id="rId48"/>
    <p:sldLayoutId id="2147484035" r:id="rId49"/>
    <p:sldLayoutId id="2147484036" r:id="rId50"/>
    <p:sldLayoutId id="2147484037" r:id="rId51"/>
    <p:sldLayoutId id="2147484038" r:id="rId52"/>
    <p:sldLayoutId id="2147484039" r:id="rId53"/>
    <p:sldLayoutId id="2147484040" r:id="rId54"/>
    <p:sldLayoutId id="2147484041" r:id="rId55"/>
    <p:sldLayoutId id="2147484042" r:id="rId56"/>
    <p:sldLayoutId id="2147484043" r:id="rId57"/>
    <p:sldLayoutId id="2147484044" r:id="rId58"/>
    <p:sldLayoutId id="2147484045" r:id="rId59"/>
    <p:sldLayoutId id="2147484046" r:id="rId60"/>
    <p:sldLayoutId id="2147484047" r:id="rId61"/>
    <p:sldLayoutId id="2147484048" r:id="rId62"/>
    <p:sldLayoutId id="2147484049" r:id="rId63"/>
    <p:sldLayoutId id="2147484050" r:id="rId64"/>
    <p:sldLayoutId id="2147484051" r:id="rId65"/>
    <p:sldLayoutId id="2147484052" r:id="rId66"/>
    <p:sldLayoutId id="2147484053" r:id="rId67"/>
    <p:sldLayoutId id="2147484054" r:id="rId68"/>
    <p:sldLayoutId id="2147484055" r:id="rId69"/>
    <p:sldLayoutId id="2147484056" r:id="rId70"/>
    <p:sldLayoutId id="2147484057" r:id="rId71"/>
    <p:sldLayoutId id="2147484058" r:id="rId72"/>
    <p:sldLayoutId id="2147484059" r:id="rId73"/>
    <p:sldLayoutId id="2147484060" r:id="rId74"/>
    <p:sldLayoutId id="2147484061" r:id="rId75"/>
    <p:sldLayoutId id="2147484062" r:id="rId76"/>
    <p:sldLayoutId id="2147484063" r:id="rId77"/>
    <p:sldLayoutId id="2147484064" r:id="rId78"/>
    <p:sldLayoutId id="2147484065" r:id="rId79"/>
    <p:sldLayoutId id="2147484066" r:id="rId80"/>
    <p:sldLayoutId id="2147484067"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1"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96420070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 id="2147484102" r:id="rId34"/>
    <p:sldLayoutId id="2147484103" r:id="rId35"/>
    <p:sldLayoutId id="2147484104" r:id="rId36"/>
    <p:sldLayoutId id="2147484105" r:id="rId37"/>
    <p:sldLayoutId id="2147484106" r:id="rId38"/>
    <p:sldLayoutId id="2147484107" r:id="rId39"/>
    <p:sldLayoutId id="2147484108" r:id="rId40"/>
    <p:sldLayoutId id="2147484109" r:id="rId41"/>
    <p:sldLayoutId id="2147484110" r:id="rId42"/>
    <p:sldLayoutId id="2147484111" r:id="rId43"/>
    <p:sldLayoutId id="2147484112" r:id="rId44"/>
    <p:sldLayoutId id="2147484113" r:id="rId45"/>
    <p:sldLayoutId id="2147484114" r:id="rId46"/>
    <p:sldLayoutId id="2147484115" r:id="rId47"/>
    <p:sldLayoutId id="2147484116" r:id="rId48"/>
    <p:sldLayoutId id="2147484117" r:id="rId49"/>
    <p:sldLayoutId id="2147484118" r:id="rId50"/>
    <p:sldLayoutId id="2147484119" r:id="rId51"/>
    <p:sldLayoutId id="2147484120" r:id="rId52"/>
    <p:sldLayoutId id="2147484121" r:id="rId53"/>
    <p:sldLayoutId id="2147484122" r:id="rId54"/>
    <p:sldLayoutId id="2147484123" r:id="rId55"/>
    <p:sldLayoutId id="2147484124" r:id="rId56"/>
    <p:sldLayoutId id="2147484125" r:id="rId57"/>
    <p:sldLayoutId id="2147484126" r:id="rId58"/>
    <p:sldLayoutId id="2147484127" r:id="rId59"/>
    <p:sldLayoutId id="2147484128" r:id="rId60"/>
    <p:sldLayoutId id="2147484129" r:id="rId61"/>
    <p:sldLayoutId id="2147484130" r:id="rId62"/>
    <p:sldLayoutId id="2147484131" r:id="rId63"/>
    <p:sldLayoutId id="2147484132" r:id="rId64"/>
    <p:sldLayoutId id="2147484133" r:id="rId65"/>
    <p:sldLayoutId id="2147484134" r:id="rId66"/>
    <p:sldLayoutId id="2147484135" r:id="rId67"/>
    <p:sldLayoutId id="2147484136" r:id="rId68"/>
    <p:sldLayoutId id="2147484137" r:id="rId69"/>
    <p:sldLayoutId id="2147484138" r:id="rId70"/>
    <p:sldLayoutId id="2147484139" r:id="rId71"/>
    <p:sldLayoutId id="2147484140" r:id="rId72"/>
    <p:sldLayoutId id="2147484141" r:id="rId73"/>
    <p:sldLayoutId id="2147484142" r:id="rId74"/>
    <p:sldLayoutId id="2147484143" r:id="rId75"/>
    <p:sldLayoutId id="2147484144" r:id="rId76"/>
    <p:sldLayoutId id="2147484145" r:id="rId77"/>
    <p:sldLayoutId id="2147484146" r:id="rId78"/>
    <p:sldLayoutId id="2147484147" r:id="rId79"/>
    <p:sldLayoutId id="2147484148" r:id="rId80"/>
    <p:sldLayoutId id="2147484149" r:id="rId81"/>
    <p:sldLayoutId id="2147484150" r:id="rId82"/>
    <p:sldLayoutId id="2147484151" r:id="rId83"/>
    <p:sldLayoutId id="2147484152" r:id="rId84"/>
    <p:sldLayoutId id="2147484153" r:id="rId85"/>
    <p:sldLayoutId id="2147484154" r:id="rId86"/>
    <p:sldLayoutId id="2147484155" r:id="rId87"/>
    <p:sldLayoutId id="2147484156" r:id="rId88"/>
    <p:sldLayoutId id="2147484157" r:id="rId89"/>
    <p:sldLayoutId id="2147484158" r:id="rId90"/>
    <p:sldLayoutId id="2147484159" r:id="rId91"/>
    <p:sldLayoutId id="2147484160" r:id="rId92"/>
    <p:sldLayoutId id="2147484161" r:id="rId93"/>
    <p:sldLayoutId id="2147484162" r:id="rId94"/>
    <p:sldLayoutId id="2147484163" r:id="rId95"/>
    <p:sldLayoutId id="2147484164" r:id="rId96"/>
    <p:sldLayoutId id="2147484165" r:id="rId97"/>
    <p:sldLayoutId id="2147484166" r:id="rId98"/>
    <p:sldLayoutId id="2147484167" r:id="rId99"/>
    <p:sldLayoutId id="2147484168" r:id="rId100"/>
    <p:sldLayoutId id="2147484169" r:id="rId101"/>
    <p:sldLayoutId id="2147484170" r:id="rId102"/>
    <p:sldLayoutId id="2147484171" r:id="rId103"/>
    <p:sldLayoutId id="2147484172" r:id="rId104"/>
    <p:sldLayoutId id="2147484173" r:id="rId105"/>
    <p:sldLayoutId id="2147484174" r:id="rId106"/>
    <p:sldLayoutId id="2147484175" r:id="rId107"/>
    <p:sldLayoutId id="2147484176" r:id="rId108"/>
    <p:sldLayoutId id="2147484177" r:id="rId109"/>
    <p:sldLayoutId id="2147484178" r:id="rId110"/>
    <p:sldLayoutId id="2147484179" r:id="rId111"/>
    <p:sldLayoutId id="2147484180" r:id="rId112"/>
    <p:sldLayoutId id="2147484181" r:id="rId113"/>
    <p:sldLayoutId id="2147484182" r:id="rId114"/>
    <p:sldLayoutId id="2147484183" r:id="rId115"/>
    <p:sldLayoutId id="2147484184" r:id="rId116"/>
    <p:sldLayoutId id="2147484185" r:id="rId117"/>
    <p:sldLayoutId id="2147484186" r:id="rId118"/>
    <p:sldLayoutId id="2147484187" r:id="rId1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10024012"/>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45.xml"/></Relationships>
</file>

<file path=ppt/slides/_rels/slide1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emf"/><Relationship Id="rId7" Type="http://schemas.openxmlformats.org/officeDocument/2006/relationships/image" Target="../media/image73.svg"/><Relationship Id="rId2" Type="http://schemas.openxmlformats.org/officeDocument/2006/relationships/notesSlide" Target="../notesSlides/notesSlide7.xml"/><Relationship Id="rId1" Type="http://schemas.openxmlformats.org/officeDocument/2006/relationships/slideLayout" Target="../slideLayouts/slideLayout304.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 Id="rId9"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9.png"/><Relationship Id="rId3" Type="http://schemas.openxmlformats.org/officeDocument/2006/relationships/image" Target="../media/image69.emf"/><Relationship Id="rId7" Type="http://schemas.openxmlformats.org/officeDocument/2006/relationships/image" Target="../media/image71.svg"/><Relationship Id="rId12" Type="http://schemas.openxmlformats.org/officeDocument/2006/relationships/image" Target="../media/image78.png"/><Relationship Id="rId2" Type="http://schemas.openxmlformats.org/officeDocument/2006/relationships/notesSlide" Target="../notesSlides/notesSlide8.xml"/><Relationship Id="rId16" Type="http://schemas.openxmlformats.org/officeDocument/2006/relationships/image" Target="../media/image82.svg"/><Relationship Id="rId1" Type="http://schemas.openxmlformats.org/officeDocument/2006/relationships/slideLayout" Target="../slideLayouts/slideLayout304.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77.svg"/><Relationship Id="rId15" Type="http://schemas.openxmlformats.org/officeDocument/2006/relationships/image" Target="../media/image81.png"/><Relationship Id="rId10" Type="http://schemas.openxmlformats.org/officeDocument/2006/relationships/image" Target="../media/image74.png"/><Relationship Id="rId4" Type="http://schemas.openxmlformats.org/officeDocument/2006/relationships/image" Target="../media/image76.png"/><Relationship Id="rId9" Type="http://schemas.openxmlformats.org/officeDocument/2006/relationships/image" Target="../media/image73.svg"/><Relationship Id="rId14" Type="http://schemas.openxmlformats.org/officeDocument/2006/relationships/image" Target="../media/image80.svg"/></Relationships>
</file>

<file path=ppt/slides/_rels/slide13.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69.emf"/><Relationship Id="rId7" Type="http://schemas.openxmlformats.org/officeDocument/2006/relationships/image" Target="../media/image86.svg"/><Relationship Id="rId12" Type="http://schemas.openxmlformats.org/officeDocument/2006/relationships/image" Target="../media/image91.jpeg"/><Relationship Id="rId2" Type="http://schemas.openxmlformats.org/officeDocument/2006/relationships/notesSlide" Target="../notesSlides/notesSlide9.xml"/><Relationship Id="rId1" Type="http://schemas.openxmlformats.org/officeDocument/2006/relationships/slideLayout" Target="../slideLayouts/slideLayout254.xml"/><Relationship Id="rId6" Type="http://schemas.openxmlformats.org/officeDocument/2006/relationships/image" Target="../media/image85.png"/><Relationship Id="rId11" Type="http://schemas.openxmlformats.org/officeDocument/2006/relationships/image" Target="../media/image90.jpeg"/><Relationship Id="rId5" Type="http://schemas.openxmlformats.org/officeDocument/2006/relationships/image" Target="../media/image84.svg"/><Relationship Id="rId10" Type="http://schemas.openxmlformats.org/officeDocument/2006/relationships/image" Target="../media/image89.jpeg"/><Relationship Id="rId4" Type="http://schemas.openxmlformats.org/officeDocument/2006/relationships/image" Target="../media/image83.png"/><Relationship Id="rId9" Type="http://schemas.openxmlformats.org/officeDocument/2006/relationships/image" Target="../media/image88.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entra/identity/saas-apps/sap-hana-cloud-platform-identity-authentication-tutorial" TargetMode="External"/><Relationship Id="rId2" Type="http://schemas.openxmlformats.org/officeDocument/2006/relationships/hyperlink" Target="https://learn.microsoft.com/en-us/entra/fundamentals/scenario-azure-first-sap-identity-integration" TargetMode="External"/><Relationship Id="rId1" Type="http://schemas.openxmlformats.org/officeDocument/2006/relationships/slideLayout" Target="../slideLayouts/slideLayout245.xml"/></Relationships>
</file>

<file path=ppt/slides/_rels/slide16.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svg"/><Relationship Id="rId17" Type="http://schemas.openxmlformats.org/officeDocument/2006/relationships/hyperlink" Target="https://learn.microsoft.com/en-us/entra/identity/saas-apps/sap-hana-cloud-platform-identity-authentication-tutorial" TargetMode="External"/><Relationship Id="rId2" Type="http://schemas.openxmlformats.org/officeDocument/2006/relationships/image" Target="../media/image93.emf"/><Relationship Id="rId16" Type="http://schemas.openxmlformats.org/officeDocument/2006/relationships/hyperlink" Target="https://learn.microsoft.com/en-us/entra/fundamentals/scenario-azure-first-sap-identity-integration" TargetMode="External"/><Relationship Id="rId1" Type="http://schemas.openxmlformats.org/officeDocument/2006/relationships/slideLayout" Target="../slideLayouts/slideLayout245.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emf"/><Relationship Id="rId10" Type="http://schemas.openxmlformats.org/officeDocument/2006/relationships/image" Target="../media/image101.svg"/><Relationship Id="rId4" Type="http://schemas.openxmlformats.org/officeDocument/2006/relationships/image" Target="../media/image95.svg"/><Relationship Id="rId9" Type="http://schemas.openxmlformats.org/officeDocument/2006/relationships/image" Target="../media/image100.png"/><Relationship Id="rId14" Type="http://schemas.openxmlformats.org/officeDocument/2006/relationships/image" Target="../media/image10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18.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0.xml"/><Relationship Id="rId1" Type="http://schemas.openxmlformats.org/officeDocument/2006/relationships/slideLayout" Target="../slideLayouts/slideLayout245.xml"/><Relationship Id="rId6" Type="http://schemas.openxmlformats.org/officeDocument/2006/relationships/image" Target="../media/image108.emf"/><Relationship Id="rId5" Type="http://schemas.openxmlformats.org/officeDocument/2006/relationships/hyperlink" Target="https://learn.microsoft.com/en-us/entra/identity/saas-apps/sap-netweaver-tutorial" TargetMode="External"/><Relationship Id="rId4" Type="http://schemas.openxmlformats.org/officeDocument/2006/relationships/hyperlink" Target="https://community.sap.com/t5/technology-blogs-by-sap/sap-single-sign-on-authenticate-with-kerberos-spnego/ba-p/13321445"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entra/identity/users/" TargetMode="External"/><Relationship Id="rId2" Type="http://schemas.openxmlformats.org/officeDocument/2006/relationships/notesSlide" Target="../notesSlides/notesSlide11.xml"/><Relationship Id="rId1" Type="http://schemas.openxmlformats.org/officeDocument/2006/relationships/slideLayout" Target="../slideLayouts/slideLayout2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hyperlink" Target="https://learn.microsoft.com/en-us/entra/identity/users/groups-dynamic-membership" TargetMode="External"/><Relationship Id="rId3" Type="http://schemas.openxmlformats.org/officeDocument/2006/relationships/hyperlink" Target="https://learn.microsoft.com/en-us/entra/identity/authentication/concept-password-ban-bad-on-premises" TargetMode="External"/><Relationship Id="rId7" Type="http://schemas.openxmlformats.org/officeDocument/2006/relationships/hyperlink" Target="https://learn.microsoft.com/en-us/entra/id-protection/concept-identity-protection-policies" TargetMode="External"/><Relationship Id="rId2" Type="http://schemas.openxmlformats.org/officeDocument/2006/relationships/notesSlide" Target="../notesSlides/notesSlide12.xml"/><Relationship Id="rId1" Type="http://schemas.openxmlformats.org/officeDocument/2006/relationships/slideLayout" Target="../slideLayouts/slideLayout245.xml"/><Relationship Id="rId6" Type="http://schemas.openxmlformats.org/officeDocument/2006/relationships/hyperlink" Target="https://learn.microsoft.com/en-us/entra/identity/authentication/concept-authentication-passwordless" TargetMode="External"/><Relationship Id="rId5" Type="http://schemas.openxmlformats.org/officeDocument/2006/relationships/hyperlink" Target="https://learn.microsoft.com/en-us/entra/identity/authentication/concept-mfa-howitworks" TargetMode="External"/><Relationship Id="rId4" Type="http://schemas.openxmlformats.org/officeDocument/2006/relationships/hyperlink" Target="https://learn.microsoft.com/en-us/entra/identity/authentication/tutorial-enable-sspr"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245.xml"/></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entra/identity/app-provisioning/plan-sap-user-source-and-target#provision-users-to-sap-cloud-identity-services" TargetMode="External"/><Relationship Id="rId2" Type="http://schemas.openxmlformats.org/officeDocument/2006/relationships/notesSlide" Target="../notesSlides/notesSlide14.xml"/><Relationship Id="rId1" Type="http://schemas.openxmlformats.org/officeDocument/2006/relationships/slideLayout" Target="../slideLayouts/slideLayout245.xml"/><Relationship Id="rId4" Type="http://schemas.openxmlformats.org/officeDocument/2006/relationships/hyperlink" Target="https://learn.microsoft.com/en-us/entra/identity/app-provisioning/plan-sap-user-source-and-target#assign-users-the-necessary-application-access-rights-in-microsoft-entra"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entra/identity/app-provisioning/plan-sap-user-source-and-target#confirm-that-necessary-bapis-for-sap-ecc-are-ready-for-use-by-microsoft-entra" TargetMode="External"/><Relationship Id="rId2" Type="http://schemas.openxmlformats.org/officeDocument/2006/relationships/notesSlide" Target="../notesSlides/notesSlide15.xml"/><Relationship Id="rId1" Type="http://schemas.openxmlformats.org/officeDocument/2006/relationships/slideLayout" Target="../slideLayouts/slideLayout245.xml"/><Relationship Id="rId6" Type="http://schemas.openxmlformats.org/officeDocument/2006/relationships/hyperlink" Target="https://learn.microsoft.com/en-us/entra/identity/app-provisioning/on-premises-ldap-connector-configure" TargetMode="External"/><Relationship Id="rId5" Type="http://schemas.openxmlformats.org/officeDocument/2006/relationships/hyperlink" Target="https://learn.microsoft.com/en-us/entra/identity/saas-apps/sap-successfactors-inbound-provisioning-tutorial" TargetMode="External"/><Relationship Id="rId4" Type="http://schemas.openxmlformats.org/officeDocument/2006/relationships/hyperlink" Target="https://learn.microsoft.com/en-us/entra/identity/app-provisioning/plan-sap-user-source-and-target#provision-users-to-sap-ec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245.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png"/></Relationships>
</file>

<file path=ppt/slides/_rels/slide27.xml.rels><?xml version="1.0" encoding="UTF-8" standalone="yes"?>
<Relationships xmlns="http://schemas.openxmlformats.org/package/2006/relationships"><Relationship Id="rId8" Type="http://schemas.openxmlformats.org/officeDocument/2006/relationships/image" Target="../media/image118.emf"/><Relationship Id="rId13" Type="http://schemas.openxmlformats.org/officeDocument/2006/relationships/image" Target="../media/image123.png"/><Relationship Id="rId3" Type="http://schemas.openxmlformats.org/officeDocument/2006/relationships/image" Target="../media/image69.emf"/><Relationship Id="rId7" Type="http://schemas.openxmlformats.org/officeDocument/2006/relationships/image" Target="../media/image117.emf"/><Relationship Id="rId12" Type="http://schemas.openxmlformats.org/officeDocument/2006/relationships/image" Target="../media/image122.emf"/><Relationship Id="rId2" Type="http://schemas.openxmlformats.org/officeDocument/2006/relationships/notesSlide" Target="../notesSlides/notesSlide17.xml"/><Relationship Id="rId1" Type="http://schemas.openxmlformats.org/officeDocument/2006/relationships/slideLayout" Target="../slideLayouts/slideLayout245.xml"/><Relationship Id="rId6" Type="http://schemas.openxmlformats.org/officeDocument/2006/relationships/image" Target="../media/image116.emf"/><Relationship Id="rId11" Type="http://schemas.openxmlformats.org/officeDocument/2006/relationships/image" Target="../media/image121.png"/><Relationship Id="rId5" Type="http://schemas.openxmlformats.org/officeDocument/2006/relationships/image" Target="../media/image115.svg"/><Relationship Id="rId15" Type="http://schemas.openxmlformats.org/officeDocument/2006/relationships/image" Target="../media/image113.svg"/><Relationship Id="rId10" Type="http://schemas.openxmlformats.org/officeDocument/2006/relationships/image" Target="../media/image120.sv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1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entra/identity/users/groups-bulk-import-members" TargetMode="External"/><Relationship Id="rId2" Type="http://schemas.openxmlformats.org/officeDocument/2006/relationships/hyperlink" Target="https://learn.microsoft.com/en-us/entra/identity/users/groups-write-back-portal" TargetMode="External"/><Relationship Id="rId1" Type="http://schemas.openxmlformats.org/officeDocument/2006/relationships/slideLayout" Target="../slideLayouts/slideLayout245.xml"/><Relationship Id="rId6" Type="http://schemas.openxmlformats.org/officeDocument/2006/relationships/hyperlink" Target="https://learn.microsoft.com/en-us/entra/id-governance/privileged-identity-management/groups-discover-groups" TargetMode="External"/><Relationship Id="rId5" Type="http://schemas.openxmlformats.org/officeDocument/2006/relationships/hyperlink" Target="https://learn.microsoft.com/en-us/entra/identity/users/groups-self-service-management" TargetMode="External"/><Relationship Id="rId4" Type="http://schemas.openxmlformats.org/officeDocument/2006/relationships/hyperlink" Target="https://learn.microsoft.com/en-us/entra/id-governance/create-access-review"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5.xml"/></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en-us/entra/fundamentals/scenario-azure-first-sap-identity-integration#3---use-microsoft-entra-groups-for-authorization-through-role-collections-in-iasbtp" TargetMode="External"/><Relationship Id="rId2" Type="http://schemas.openxmlformats.org/officeDocument/2006/relationships/notesSlide" Target="../notesSlides/notesSlide18.xml"/><Relationship Id="rId1" Type="http://schemas.openxmlformats.org/officeDocument/2006/relationships/slideLayout" Target="../slideLayouts/slideLayout245.xml"/><Relationship Id="rId4" Type="http://schemas.openxmlformats.org/officeDocument/2006/relationships/image" Target="../media/image124.png"/></Relationships>
</file>

<file path=ppt/slides/_rels/slide31.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3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9.xml"/><Relationship Id="rId1" Type="http://schemas.openxmlformats.org/officeDocument/2006/relationships/slideLayout" Target="../slideLayouts/slideLayout254.xml"/><Relationship Id="rId5" Type="http://schemas.openxmlformats.org/officeDocument/2006/relationships/hyperlink" Target="https://learn.microsoft.com/en-us/entra/id-governance/entitlement-management-logic-apps-integration" TargetMode="External"/><Relationship Id="rId4" Type="http://schemas.openxmlformats.org/officeDocument/2006/relationships/hyperlink" Target="https://learn.microsoft.com/en-us/azure/logic-apps/logic-apps-overview"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pathlock.com/applications/microsoft-entra-id-governance/" TargetMode="External"/><Relationship Id="rId2" Type="http://schemas.openxmlformats.org/officeDocument/2006/relationships/notesSlide" Target="../notesSlides/notesSlide20.xml"/><Relationship Id="rId1" Type="http://schemas.openxmlformats.org/officeDocument/2006/relationships/slideLayout" Target="../slideLayouts/slideLayout245.xml"/><Relationship Id="rId4" Type="http://schemas.openxmlformats.org/officeDocument/2006/relationships/image" Target="../media/image127.png"/></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entra/id-governance/entitlement-management-reports" TargetMode="External"/><Relationship Id="rId2" Type="http://schemas.openxmlformats.org/officeDocument/2006/relationships/notesSlide" Target="../notesSlides/notesSlide21.xml"/><Relationship Id="rId1" Type="http://schemas.openxmlformats.org/officeDocument/2006/relationships/slideLayout" Target="../slideLayouts/slideLayout245.xml"/><Relationship Id="rId6" Type="http://schemas.openxmlformats.org/officeDocument/2006/relationships/hyperlink" Target="https://learn.microsoft.com/en-us/entra/identity/monitoring-health/howto-manage-inactive-user-accounts" TargetMode="External"/><Relationship Id="rId5" Type="http://schemas.openxmlformats.org/officeDocument/2006/relationships/hyperlink" Target="https://learn.microsoft.com/en-us/entra/architecture/security-operations-user-accounts" TargetMode="External"/><Relationship Id="rId4" Type="http://schemas.openxmlformats.org/officeDocument/2006/relationships/hyperlink" Target="https://learn.microsoft.com/en-us/entra/identity/monitoring-health/concept-usage-insights-report?tabs=microsoft-entra-admin-center"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en-us/entra/id-governance/entitlement-management-logs-and-reporting" TargetMode="External"/><Relationship Id="rId2" Type="http://schemas.openxmlformats.org/officeDocument/2006/relationships/notesSlide" Target="../notesSlides/notesSlide22.xml"/><Relationship Id="rId1" Type="http://schemas.openxmlformats.org/officeDocument/2006/relationships/slideLayout" Target="../slideLayouts/slideLayout245.xml"/><Relationship Id="rId4" Type="http://schemas.openxmlformats.org/officeDocument/2006/relationships/image" Target="../media/image128.png"/></Relationships>
</file>

<file path=ppt/slides/_rels/slide37.xml.rels><?xml version="1.0" encoding="UTF-8" standalone="yes"?>
<Relationships xmlns="http://schemas.openxmlformats.org/package/2006/relationships"><Relationship Id="rId3" Type="http://schemas.openxmlformats.org/officeDocument/2006/relationships/hyperlink" Target="https://learn.microsoft.com/en-us/entra/identity/users/users-bulk-download" TargetMode="External"/><Relationship Id="rId2" Type="http://schemas.openxmlformats.org/officeDocument/2006/relationships/notesSlide" Target="../notesSlides/notesSlide23.xml"/><Relationship Id="rId1" Type="http://schemas.openxmlformats.org/officeDocument/2006/relationships/slideLayout" Target="../slideLayouts/slideLayout245.xml"/><Relationship Id="rId6" Type="http://schemas.openxmlformats.org/officeDocument/2006/relationships/hyperlink" Target="https://learn.microsoft.com/en-us/entra/id-governance/custom-entitlement-report-with-adx-and-entra-id" TargetMode="External"/><Relationship Id="rId5" Type="http://schemas.openxmlformats.org/officeDocument/2006/relationships/hyperlink" Target="https://learn.microsoft.com/en-us/entra/identity/monitoring-health/howto-analyze-provisioning-logs" TargetMode="External"/><Relationship Id="rId4" Type="http://schemas.openxmlformats.org/officeDocument/2006/relationships/hyperlink" Target="https://learn.microsoft.com/en-us/entra/identity/monitoring-health/howto-download-logs"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learn.microsoft.com/en-us/graph/overview" TargetMode="External"/><Relationship Id="rId2" Type="http://schemas.openxmlformats.org/officeDocument/2006/relationships/notesSlide" Target="../notesSlides/notesSlide24.xml"/><Relationship Id="rId1" Type="http://schemas.openxmlformats.org/officeDocument/2006/relationships/slideLayout" Target="../slideLayouts/slideLayout245.xml"/><Relationship Id="rId6" Type="http://schemas.openxmlformats.org/officeDocument/2006/relationships/hyperlink" Target="https://learn.microsoft.com/en-us/entra/id-governance/services-and-integration-partners" TargetMode="External"/><Relationship Id="rId5" Type="http://schemas.openxmlformats.org/officeDocument/2006/relationships/hyperlink" Target="https://learn.microsoft.com/en-us/entra/id-governance/lifecycle-workflow-extensibility" TargetMode="External"/><Relationship Id="rId4" Type="http://schemas.openxmlformats.org/officeDocument/2006/relationships/hyperlink" Target="https://learn.microsoft.com/en-us/entra/id-governance/entitlement-management-logic-apps-integration" TargetMode="Externa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hyperlink" Target="https://learn.microsoft.com/en-us/entra/id-governance/scenarios/migrate-from-sap-idm" TargetMode="Externa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42.xml.rels><?xml version="1.0" encoding="UTF-8" standalone="yes"?>
<Relationships xmlns="http://schemas.openxmlformats.org/package/2006/relationships"><Relationship Id="rId8" Type="http://schemas.openxmlformats.org/officeDocument/2006/relationships/hyperlink" Target="https://learn.microsoft.com/en-us/powershell/microsoftgraph/?view=graph-powershell-1.0" TargetMode="External"/><Relationship Id="rId3" Type="http://schemas.openxmlformats.org/officeDocument/2006/relationships/hyperlink" Target="https://learn.microsoft.com/en-us/entra/id-governance/scenarios/migrate-from-sap-idm" TargetMode="External"/><Relationship Id="rId7" Type="http://schemas.openxmlformats.org/officeDocument/2006/relationships/hyperlink" Target="https://aka.ms/EntraSAPScenarios" TargetMode="External"/><Relationship Id="rId2" Type="http://schemas.openxmlformats.org/officeDocument/2006/relationships/hyperlink" Target="https://github.com/microsoft/EntraIDGovernance-Training/tree/main" TargetMode="External"/><Relationship Id="rId1" Type="http://schemas.openxmlformats.org/officeDocument/2006/relationships/slideLayout" Target="../slideLayouts/slideLayout78.xml"/><Relationship Id="rId6" Type="http://schemas.openxmlformats.org/officeDocument/2006/relationships/hyperlink" Target="https://youtu.be/3KWkuGslYOU?si=DFVIUHUZMBX05QD-" TargetMode="External"/><Relationship Id="rId5" Type="http://schemas.openxmlformats.org/officeDocument/2006/relationships/hyperlink" Target="https://youtu.be/Ta7KkMxbEIc?si=kiX6Ft45ZXbvNLkF" TargetMode="External"/><Relationship Id="rId10" Type="http://schemas.openxmlformats.org/officeDocument/2006/relationships/hyperlink" Target="https://learn.microsoft.com/en-us/graph/api/overview?view=graph-rest-1.0" TargetMode="External"/><Relationship Id="rId4" Type="http://schemas.openxmlformats.org/officeDocument/2006/relationships/hyperlink" Target="https://youtu.be/W5PmklRsp4E?si=NB3LSQXRkZ07Z4Bv" TargetMode="External"/><Relationship Id="rId9" Type="http://schemas.openxmlformats.org/officeDocument/2006/relationships/hyperlink" Target="https://learn.microsoft.com/en-us/powershell/entra-powershell/overview?view=entra-powershell"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hyperlink" Target="https://learn.microsoft.com/en-us/entra/identity/saas-apps/sap-successfactors-inbound-provisioning-cloud-only-tutorial" TargetMode="External"/><Relationship Id="rId2" Type="http://schemas.openxmlformats.org/officeDocument/2006/relationships/notesSlide" Target="../notesSlides/notesSlide3.xml"/><Relationship Id="rId1" Type="http://schemas.openxmlformats.org/officeDocument/2006/relationships/slideLayout" Target="../slideLayouts/slideLayout245.xml"/><Relationship Id="rId5" Type="http://schemas.openxmlformats.org/officeDocument/2006/relationships/image" Target="../media/image64.png"/><Relationship Id="rId4" Type="http://schemas.openxmlformats.org/officeDocument/2006/relationships/hyperlink" Target="https://learn.microsoft.com/en-us/entra/identity/saas-apps/sap-successfactors-inbound-provisioning-tutori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245.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2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500D6-86BB-9089-103C-4756B1F42233}"/>
              </a:ext>
            </a:extLst>
          </p:cNvPr>
          <p:cNvSpPr>
            <a:spLocks noGrp="1"/>
          </p:cNvSpPr>
          <p:nvPr>
            <p:ph type="title"/>
          </p:nvPr>
        </p:nvSpPr>
        <p:spPr>
          <a:xfrm>
            <a:off x="588263" y="2425541"/>
            <a:ext cx="4167887" cy="1107996"/>
          </a:xfrm>
        </p:spPr>
        <p:txBody>
          <a:bodyPr/>
          <a:lstStyle/>
          <a:p>
            <a:r>
              <a:rPr lang="en-US"/>
              <a:t>Microsoft Entra + SAP Scenarios</a:t>
            </a:r>
          </a:p>
        </p:txBody>
      </p:sp>
      <p:sp>
        <p:nvSpPr>
          <p:cNvPr id="3" name="Text Placeholder 2">
            <a:extLst>
              <a:ext uri="{FF2B5EF4-FFF2-40B4-BE49-F238E27FC236}">
                <a16:creationId xmlns:a16="http://schemas.microsoft.com/office/drawing/2014/main" id="{7497BEFE-9B04-BC39-51C8-E76530E65015}"/>
              </a:ext>
            </a:extLst>
          </p:cNvPr>
          <p:cNvSpPr>
            <a:spLocks noGrp="1"/>
          </p:cNvSpPr>
          <p:nvPr>
            <p:ph type="body" sz="quarter" idx="12"/>
          </p:nvPr>
        </p:nvSpPr>
        <p:spPr>
          <a:xfrm>
            <a:off x="582042" y="3962400"/>
            <a:ext cx="4164583" cy="1692771"/>
          </a:xfrm>
        </p:spPr>
        <p:txBody>
          <a:bodyPr/>
          <a:lstStyle/>
          <a:p>
            <a:r>
              <a:rPr lang="en-US" b="1"/>
              <a:t>Mark Wahl</a:t>
            </a:r>
          </a:p>
          <a:p>
            <a:r>
              <a:rPr lang="en-US"/>
              <a:t>Principal Product Architect</a:t>
            </a:r>
          </a:p>
          <a:p>
            <a:endParaRPr lang="en-US"/>
          </a:p>
          <a:p>
            <a:r>
              <a:rPr lang="en-US" b="1"/>
              <a:t>Rodrigo Fonseca</a:t>
            </a:r>
          </a:p>
          <a:p>
            <a:r>
              <a:rPr lang="en-US"/>
              <a:t>Principal Product Manager</a:t>
            </a:r>
          </a:p>
        </p:txBody>
      </p:sp>
    </p:spTree>
    <p:extLst>
      <p:ext uri="{BB962C8B-B14F-4D97-AF65-F5344CB8AC3E}">
        <p14:creationId xmlns:p14="http://schemas.microsoft.com/office/powerpoint/2010/main" val="167866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07D1C-8FD9-BFD9-B169-18D7A0F0A0FA}"/>
              </a:ext>
            </a:extLst>
          </p:cNvPr>
          <p:cNvSpPr>
            <a:spLocks noGrp="1"/>
          </p:cNvSpPr>
          <p:nvPr>
            <p:ph type="title"/>
          </p:nvPr>
        </p:nvSpPr>
        <p:spPr/>
        <p:txBody>
          <a:bodyPr/>
          <a:lstStyle/>
          <a:p>
            <a:r>
              <a:rPr lang="en-US"/>
              <a:t>Use API-Driven Provisioning for Other HR Sources</a:t>
            </a:r>
          </a:p>
        </p:txBody>
      </p:sp>
      <p:pic>
        <p:nvPicPr>
          <p:cNvPr id="4" name="Picture 2" descr="Diagram showing API workflow scenarios.">
            <a:extLst>
              <a:ext uri="{FF2B5EF4-FFF2-40B4-BE49-F238E27FC236}">
                <a16:creationId xmlns:a16="http://schemas.microsoft.com/office/drawing/2014/main" id="{9038FC1E-F0B2-E04A-F5B8-77AAE5C142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 y="1355725"/>
            <a:ext cx="12192000" cy="4992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4858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6B2309-84D1-4E67-800B-24629686D52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lowchart: Document 3">
            <a:extLst>
              <a:ext uri="{FF2B5EF4-FFF2-40B4-BE49-F238E27FC236}">
                <a16:creationId xmlns:a16="http://schemas.microsoft.com/office/drawing/2014/main" id="{D21125E2-CA56-3E5A-10A2-AD590F2B5EC7}"/>
              </a:ext>
            </a:extLst>
          </p:cNvPr>
          <p:cNvSpPr/>
          <p:nvPr/>
        </p:nvSpPr>
        <p:spPr>
          <a:xfrm>
            <a:off x="752839" y="2077605"/>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employee-feed.csv</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3C9EE328-766D-EA30-9829-84DC4992E479}"/>
              </a:ext>
            </a:extLst>
          </p:cNvPr>
          <p:cNvSpPr/>
          <p:nvPr/>
        </p:nvSpPr>
        <p:spPr bwMode="auto">
          <a:xfrm>
            <a:off x="600248" y="1455318"/>
            <a:ext cx="2185851"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C314A006-7F80-6CB6-21EE-928289E7FE4A}"/>
              </a:ext>
            </a:extLst>
          </p:cNvPr>
          <p:cNvSpPr/>
          <p:nvPr/>
        </p:nvSpPr>
        <p:spPr bwMode="auto">
          <a:xfrm>
            <a:off x="591539" y="1453141"/>
            <a:ext cx="2194560"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les generated by different HR sources</a:t>
            </a:r>
          </a:p>
        </p:txBody>
      </p:sp>
      <p:cxnSp>
        <p:nvCxnSpPr>
          <p:cNvPr id="22" name="Straight Arrow Connector 21">
            <a:extLst>
              <a:ext uri="{FF2B5EF4-FFF2-40B4-BE49-F238E27FC236}">
                <a16:creationId xmlns:a16="http://schemas.microsoft.com/office/drawing/2014/main" id="{0C8AF0FF-47AE-C8C0-C1A0-7D594B61518A}"/>
              </a:ext>
            </a:extLst>
          </p:cNvPr>
          <p:cNvCxnSpPr>
            <a:cxnSpLocks/>
          </p:cNvCxnSpPr>
          <p:nvPr/>
        </p:nvCxnSpPr>
        <p:spPr>
          <a:xfrm rot="5400000">
            <a:off x="-445062" y="-955144"/>
            <a:ext cx="218119" cy="98587"/>
          </a:xfrm>
          <a:prstGeom prst="bentConnector3">
            <a:avLst>
              <a:gd name="adj1" fmla="val 5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C24391C-5D67-FF98-0E7E-42EC91F8415F}"/>
              </a:ext>
            </a:extLst>
          </p:cNvPr>
          <p:cNvCxnSpPr>
            <a:cxnSpLocks/>
            <a:stCxn id="63" idx="4"/>
            <a:endCxn id="46" idx="0"/>
          </p:cNvCxnSpPr>
          <p:nvPr/>
        </p:nvCxnSpPr>
        <p:spPr>
          <a:xfrm flipH="1">
            <a:off x="7060107" y="2797534"/>
            <a:ext cx="4174" cy="1803469"/>
          </a:xfrm>
          <a:prstGeom prst="straightConnector1">
            <a:avLst/>
          </a:prstGeom>
          <a:noFill/>
          <a:ln w="19050" cap="rnd" cmpd="sng" algn="ctr">
            <a:solidFill>
              <a:srgbClr val="0078D4"/>
            </a:solidFill>
            <a:prstDash val="sysDot"/>
            <a:headEnd type="arrow" w="lg" len="lg"/>
            <a:tailEnd type="arrow" w="lg" len="lg"/>
          </a:ln>
          <a:effectLst/>
        </p:spPr>
      </p:cxnSp>
      <p:sp>
        <p:nvSpPr>
          <p:cNvPr id="39" name="TextBox 38">
            <a:extLst>
              <a:ext uri="{FF2B5EF4-FFF2-40B4-BE49-F238E27FC236}">
                <a16:creationId xmlns:a16="http://schemas.microsoft.com/office/drawing/2014/main" id="{24AE3BFF-7130-F4D8-2218-90DF06605019}"/>
              </a:ext>
            </a:extLst>
          </p:cNvPr>
          <p:cNvSpPr txBox="1"/>
          <p:nvPr/>
        </p:nvSpPr>
        <p:spPr>
          <a:xfrm>
            <a:off x="6599961" y="1540351"/>
            <a:ext cx="956042"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 Entra ID </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6E519285-AA50-130C-EDE3-59A69CDE07C2}"/>
              </a:ext>
            </a:extLst>
          </p:cNvPr>
          <p:cNvSpPr txBox="1"/>
          <p:nvPr/>
        </p:nvSpPr>
        <p:spPr>
          <a:xfrm>
            <a:off x="6394762" y="5478212"/>
            <a:ext cx="1330688" cy="405394"/>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sp>
        <p:nvSpPr>
          <p:cNvPr id="43" name="Rectangle 42">
            <a:extLst>
              <a:ext uri="{FF2B5EF4-FFF2-40B4-BE49-F238E27FC236}">
                <a16:creationId xmlns:a16="http://schemas.microsoft.com/office/drawing/2014/main" id="{1B6E0632-C77D-F0D0-25AD-5EA563451359}"/>
              </a:ext>
            </a:extLst>
          </p:cNvPr>
          <p:cNvSpPr/>
          <p:nvPr/>
        </p:nvSpPr>
        <p:spPr>
          <a:xfrm>
            <a:off x="6289684" y="3905668"/>
            <a:ext cx="1540762" cy="338554"/>
          </a:xfrm>
          <a:prstGeom prst="rect">
            <a:avLst/>
          </a:prstGeom>
          <a:solidFill>
            <a:srgbClr val="F8F8F8"/>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Entra Connec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Cloud Sync</a:t>
            </a:r>
          </a:p>
        </p:txBody>
      </p:sp>
      <p:grpSp>
        <p:nvGrpSpPr>
          <p:cNvPr id="45" name="Group 44">
            <a:extLst>
              <a:ext uri="{FF2B5EF4-FFF2-40B4-BE49-F238E27FC236}">
                <a16:creationId xmlns:a16="http://schemas.microsoft.com/office/drawing/2014/main" id="{4B2A6D2A-343A-AF3C-4B73-170708E2FFEE}"/>
              </a:ext>
            </a:extLst>
          </p:cNvPr>
          <p:cNvGrpSpPr/>
          <p:nvPr/>
        </p:nvGrpSpPr>
        <p:grpSpPr>
          <a:xfrm>
            <a:off x="6677751" y="4601003"/>
            <a:ext cx="764711" cy="764711"/>
            <a:chOff x="8309777" y="3646178"/>
            <a:chExt cx="731520" cy="731520"/>
          </a:xfrm>
        </p:grpSpPr>
        <p:sp>
          <p:nvSpPr>
            <p:cNvPr id="46" name="Oval 45">
              <a:extLst>
                <a:ext uri="{FF2B5EF4-FFF2-40B4-BE49-F238E27FC236}">
                  <a16:creationId xmlns:a16="http://schemas.microsoft.com/office/drawing/2014/main" id="{EED77FAA-AB69-A94E-FF0B-CE1456A875DE}"/>
                </a:ext>
              </a:extLst>
            </p:cNvPr>
            <p:cNvSpPr/>
            <p:nvPr/>
          </p:nvSpPr>
          <p:spPr bwMode="auto">
            <a:xfrm>
              <a:off x="8309777" y="3646178"/>
              <a:ext cx="731520" cy="731520"/>
            </a:xfrm>
            <a:prstGeom prst="ellipse">
              <a:avLst/>
            </a:prstGeom>
            <a:solidFill>
              <a:schemeClr val="bg1"/>
            </a:solidFill>
            <a:ln w="63500">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078849F2-8E23-099C-3F5C-8572095C5788}"/>
                </a:ext>
              </a:extLst>
            </p:cNvPr>
            <p:cNvGrpSpPr/>
            <p:nvPr/>
          </p:nvGrpSpPr>
          <p:grpSpPr>
            <a:xfrm>
              <a:off x="8416291" y="3816754"/>
              <a:ext cx="477918" cy="343856"/>
              <a:chOff x="8441772" y="3857017"/>
              <a:chExt cx="403143" cy="290056"/>
            </a:xfrm>
          </p:grpSpPr>
          <p:grpSp>
            <p:nvGrpSpPr>
              <p:cNvPr id="48" name="Group 47">
                <a:extLst>
                  <a:ext uri="{FF2B5EF4-FFF2-40B4-BE49-F238E27FC236}">
                    <a16:creationId xmlns:a16="http://schemas.microsoft.com/office/drawing/2014/main" id="{566C87B8-CE72-8337-21F8-E438248C3CD3}"/>
                  </a:ext>
                </a:extLst>
              </p:cNvPr>
              <p:cNvGrpSpPr/>
              <p:nvPr/>
            </p:nvGrpSpPr>
            <p:grpSpPr>
              <a:xfrm flipH="1">
                <a:off x="8687229" y="3857017"/>
                <a:ext cx="157686" cy="262420"/>
                <a:chOff x="6197795" y="5009164"/>
                <a:chExt cx="616636" cy="1026202"/>
              </a:xfrm>
            </p:grpSpPr>
            <p:grpSp>
              <p:nvGrpSpPr>
                <p:cNvPr id="50" name="Picture 88">
                  <a:extLst>
                    <a:ext uri="{FF2B5EF4-FFF2-40B4-BE49-F238E27FC236}">
                      <a16:creationId xmlns:a16="http://schemas.microsoft.com/office/drawing/2014/main" id="{007F9810-2486-E775-C7B6-7269816DA657}"/>
                    </a:ext>
                  </a:extLst>
                </p:cNvPr>
                <p:cNvGrpSpPr/>
                <p:nvPr/>
              </p:nvGrpSpPr>
              <p:grpSpPr>
                <a:xfrm>
                  <a:off x="6197795" y="5009164"/>
                  <a:ext cx="616636" cy="1026202"/>
                  <a:chOff x="6197795" y="5009164"/>
                  <a:chExt cx="616636" cy="1026202"/>
                </a:xfrm>
              </p:grpSpPr>
              <p:sp>
                <p:nvSpPr>
                  <p:cNvPr id="58" name="Freeform: Shape 57">
                    <a:extLst>
                      <a:ext uri="{FF2B5EF4-FFF2-40B4-BE49-F238E27FC236}">
                        <a16:creationId xmlns:a16="http://schemas.microsoft.com/office/drawing/2014/main" id="{AEFD52C6-12C7-8403-B22E-3D5B18DBFFB5}"/>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826B47E5-38CF-BC8F-2451-B90E1501CDBD}"/>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20A8643-8B72-4C79-18DB-916ACF8D1072}"/>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05D0268D-5768-0214-28B4-5D5984A1B2F7}"/>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Rectangle 50">
                  <a:extLst>
                    <a:ext uri="{FF2B5EF4-FFF2-40B4-BE49-F238E27FC236}">
                      <a16:creationId xmlns:a16="http://schemas.microsoft.com/office/drawing/2014/main" id="{DFC8A629-BD97-1FE9-2849-D7BB0E8AEBA5}"/>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1884DBF2-562D-82F3-30FC-96246C26040F}"/>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2B889F-0447-377A-215F-196A9D98D833}"/>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D44912E-15B1-037D-FE0E-38E8F522FA76}"/>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650438B8-C45F-9088-7C3A-3B2473DB50D3}"/>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366A67FE-327F-3A41-A604-4A684B81DB34}"/>
                    </a:ext>
                  </a:extLst>
                </p:cNvPr>
                <p:cNvSpPr/>
                <p:nvPr/>
              </p:nvSpPr>
              <p:spPr bwMode="auto">
                <a:xfrm>
                  <a:off x="6356704" y="57761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77C0975C-24A8-3D9D-6976-6A635E2FED8F}"/>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9DE64809-7E79-300F-B4A3-C2F5E5F022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41772" y="3906109"/>
                <a:ext cx="342298" cy="240964"/>
              </a:xfrm>
              <a:prstGeom prst="rect">
                <a:avLst/>
              </a:prstGeom>
              <a:effectLst>
                <a:outerShdw blurRad="63500" sx="102000" sy="102000" algn="ctr" rotWithShape="0">
                  <a:schemeClr val="bg1">
                    <a:alpha val="40000"/>
                  </a:schemeClr>
                </a:outerShdw>
              </a:effectLst>
            </p:spPr>
          </p:pic>
        </p:grpSp>
      </p:grpSp>
      <p:sp>
        <p:nvSpPr>
          <p:cNvPr id="63" name="Oval 62">
            <a:extLst>
              <a:ext uri="{FF2B5EF4-FFF2-40B4-BE49-F238E27FC236}">
                <a16:creationId xmlns:a16="http://schemas.microsoft.com/office/drawing/2014/main" id="{1DD59D27-404F-8771-3234-C9758B6034FD}"/>
              </a:ext>
            </a:extLst>
          </p:cNvPr>
          <p:cNvSpPr/>
          <p:nvPr/>
        </p:nvSpPr>
        <p:spPr bwMode="auto">
          <a:xfrm>
            <a:off x="6681925" y="2032823"/>
            <a:ext cx="764711" cy="764711"/>
          </a:xfrm>
          <a:prstGeom prst="ellipse">
            <a:avLst/>
          </a:prstGeom>
          <a:solidFill>
            <a:schemeClr val="bg1"/>
          </a:solidFill>
          <a:ln w="63500">
            <a:solidFill>
              <a:schemeClr val="accent1"/>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7" name="Graphic 6">
            <a:extLst>
              <a:ext uri="{FF2B5EF4-FFF2-40B4-BE49-F238E27FC236}">
                <a16:creationId xmlns:a16="http://schemas.microsoft.com/office/drawing/2014/main" id="{50E9E4BA-FC3D-6279-B7C2-3D3C29BA69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05418" y="2165974"/>
            <a:ext cx="517725" cy="517725"/>
          </a:xfrm>
          <a:prstGeom prst="rect">
            <a:avLst/>
          </a:prstGeom>
        </p:spPr>
      </p:pic>
      <p:sp>
        <p:nvSpPr>
          <p:cNvPr id="13" name="Flowchart: Document 12">
            <a:extLst>
              <a:ext uri="{FF2B5EF4-FFF2-40B4-BE49-F238E27FC236}">
                <a16:creationId xmlns:a16="http://schemas.microsoft.com/office/drawing/2014/main" id="{5971EFA0-DC13-B10C-A068-3B30C9B46825}"/>
              </a:ext>
            </a:extLst>
          </p:cNvPr>
          <p:cNvSpPr/>
          <p:nvPr/>
        </p:nvSpPr>
        <p:spPr>
          <a:xfrm>
            <a:off x="752839" y="2888775"/>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Badge-id.csv</a:t>
            </a:r>
          </a:p>
        </p:txBody>
      </p:sp>
      <p:sp>
        <p:nvSpPr>
          <p:cNvPr id="15" name="Flowchart: Document 14">
            <a:extLst>
              <a:ext uri="{FF2B5EF4-FFF2-40B4-BE49-F238E27FC236}">
                <a16:creationId xmlns:a16="http://schemas.microsoft.com/office/drawing/2014/main" id="{67D07D8F-22EF-F6DA-7A16-5A268CE7EAF8}"/>
              </a:ext>
            </a:extLst>
          </p:cNvPr>
          <p:cNvSpPr/>
          <p:nvPr/>
        </p:nvSpPr>
        <p:spPr>
          <a:xfrm>
            <a:off x="747487" y="4667394"/>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employee-feed.csv</a:t>
            </a:r>
          </a:p>
        </p:txBody>
      </p:sp>
      <p:sp>
        <p:nvSpPr>
          <p:cNvPr id="17" name="Flowchart: Document 16">
            <a:extLst>
              <a:ext uri="{FF2B5EF4-FFF2-40B4-BE49-F238E27FC236}">
                <a16:creationId xmlns:a16="http://schemas.microsoft.com/office/drawing/2014/main" id="{4076150F-9CF2-7F5E-5F62-43E8945B987A}"/>
              </a:ext>
            </a:extLst>
          </p:cNvPr>
          <p:cNvSpPr/>
          <p:nvPr/>
        </p:nvSpPr>
        <p:spPr>
          <a:xfrm>
            <a:off x="754491" y="3707062"/>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actors.csv</a:t>
            </a:r>
          </a:p>
        </p:txBody>
      </p:sp>
      <p:pic>
        <p:nvPicPr>
          <p:cNvPr id="23" name="Graphic 22">
            <a:extLst>
              <a:ext uri="{FF2B5EF4-FFF2-40B4-BE49-F238E27FC236}">
                <a16:creationId xmlns:a16="http://schemas.microsoft.com/office/drawing/2014/main" id="{FFA4A53F-69C5-74BF-F979-BD66BE735B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33445" y="2371634"/>
            <a:ext cx="256635" cy="262104"/>
          </a:xfrm>
          <a:prstGeom prst="rect">
            <a:avLst/>
          </a:prstGeom>
        </p:spPr>
      </p:pic>
      <p:pic>
        <p:nvPicPr>
          <p:cNvPr id="24" name="Graphic 23">
            <a:extLst>
              <a:ext uri="{FF2B5EF4-FFF2-40B4-BE49-F238E27FC236}">
                <a16:creationId xmlns:a16="http://schemas.microsoft.com/office/drawing/2014/main" id="{AE9ADB37-109C-4214-4A09-E37F909B574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5081" y="3145556"/>
            <a:ext cx="268840" cy="261714"/>
          </a:xfrm>
          <a:prstGeom prst="rect">
            <a:avLst/>
          </a:prstGeom>
        </p:spPr>
      </p:pic>
      <p:sp>
        <p:nvSpPr>
          <p:cNvPr id="25" name="people_3" title="Icon of a person surrounded by brackets">
            <a:extLst>
              <a:ext uri="{FF2B5EF4-FFF2-40B4-BE49-F238E27FC236}">
                <a16:creationId xmlns:a16="http://schemas.microsoft.com/office/drawing/2014/main" id="{7EBB459D-6FC6-8F0E-11CD-DE497AED96A3}"/>
              </a:ext>
            </a:extLst>
          </p:cNvPr>
          <p:cNvSpPr>
            <a:spLocks noChangeAspect="1" noEditPoints="1"/>
          </p:cNvSpPr>
          <p:nvPr/>
        </p:nvSpPr>
        <p:spPr bwMode="auto">
          <a:xfrm>
            <a:off x="2388126" y="3942374"/>
            <a:ext cx="226053" cy="2278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ContactCard_EEBD" title="Icon of a contact card">
            <a:extLst>
              <a:ext uri="{FF2B5EF4-FFF2-40B4-BE49-F238E27FC236}">
                <a16:creationId xmlns:a16="http://schemas.microsoft.com/office/drawing/2014/main" id="{E6204CB7-FD70-74CD-87DB-F8717E479823}"/>
              </a:ext>
            </a:extLst>
          </p:cNvPr>
          <p:cNvSpPr>
            <a:spLocks noChangeAspect="1" noEditPoints="1"/>
          </p:cNvSpPr>
          <p:nvPr/>
        </p:nvSpPr>
        <p:spPr bwMode="auto">
          <a:xfrm>
            <a:off x="2313151" y="4944445"/>
            <a:ext cx="285489" cy="20949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29" name="Straight Arrow Connector 1028">
            <a:extLst>
              <a:ext uri="{FF2B5EF4-FFF2-40B4-BE49-F238E27FC236}">
                <a16:creationId xmlns:a16="http://schemas.microsoft.com/office/drawing/2014/main" id="{1D71A7D1-4BEB-D394-0858-828D9987C3E4}"/>
              </a:ext>
            </a:extLst>
          </p:cNvPr>
          <p:cNvCxnSpPr>
            <a:cxnSpLocks/>
            <a:stCxn id="4" idx="3"/>
            <a:endCxn id="8" idx="2"/>
          </p:cNvCxnSpPr>
          <p:nvPr/>
        </p:nvCxnSpPr>
        <p:spPr>
          <a:xfrm flipV="1">
            <a:off x="2677433" y="2423646"/>
            <a:ext cx="895819" cy="3201"/>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9" name="Straight Arrow Connector 1048">
            <a:extLst>
              <a:ext uri="{FF2B5EF4-FFF2-40B4-BE49-F238E27FC236}">
                <a16:creationId xmlns:a16="http://schemas.microsoft.com/office/drawing/2014/main" id="{D3CAEDEF-6C60-78AC-753C-8D637FF47BF6}"/>
              </a:ext>
            </a:extLst>
          </p:cNvPr>
          <p:cNvCxnSpPr>
            <a:cxnSpLocks/>
            <a:stCxn id="13" idx="3"/>
            <a:endCxn id="8" idx="4"/>
          </p:cNvCxnSpPr>
          <p:nvPr/>
        </p:nvCxnSpPr>
        <p:spPr>
          <a:xfrm flipV="1">
            <a:off x="2677433" y="2701712"/>
            <a:ext cx="1640720" cy="536305"/>
          </a:xfrm>
          <a:prstGeom prst="bentConnector2">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0" name="Rectangle 1059">
            <a:extLst>
              <a:ext uri="{FF2B5EF4-FFF2-40B4-BE49-F238E27FC236}">
                <a16:creationId xmlns:a16="http://schemas.microsoft.com/office/drawing/2014/main" id="{15D343A2-3B18-FA83-8F41-5DFAFD528E4D}"/>
              </a:ext>
            </a:extLst>
          </p:cNvPr>
          <p:cNvSpPr/>
          <p:nvPr/>
        </p:nvSpPr>
        <p:spPr>
          <a:xfrm>
            <a:off x="4910187" y="2158158"/>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Cloud Only Users</a:t>
            </a:r>
          </a:p>
        </p:txBody>
      </p:sp>
      <p:cxnSp>
        <p:nvCxnSpPr>
          <p:cNvPr id="1063" name="Straight Arrow Connector 1062">
            <a:extLst>
              <a:ext uri="{FF2B5EF4-FFF2-40B4-BE49-F238E27FC236}">
                <a16:creationId xmlns:a16="http://schemas.microsoft.com/office/drawing/2014/main" id="{DB9B8A1B-DF95-E007-B702-06BE0D188CBA}"/>
              </a:ext>
            </a:extLst>
          </p:cNvPr>
          <p:cNvCxnSpPr>
            <a:cxnSpLocks/>
            <a:stCxn id="17" idx="3"/>
            <a:endCxn id="63" idx="3"/>
          </p:cNvCxnSpPr>
          <p:nvPr/>
        </p:nvCxnSpPr>
        <p:spPr>
          <a:xfrm flipV="1">
            <a:off x="2679085" y="2685545"/>
            <a:ext cx="4114829" cy="1370759"/>
          </a:xfrm>
          <a:prstGeom prst="curvedConnector2">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79" name="Straight Arrow Connector 1078">
            <a:extLst>
              <a:ext uri="{FF2B5EF4-FFF2-40B4-BE49-F238E27FC236}">
                <a16:creationId xmlns:a16="http://schemas.microsoft.com/office/drawing/2014/main" id="{9970CB9F-D733-BE78-FFFF-8D323FE2D46D}"/>
              </a:ext>
            </a:extLst>
          </p:cNvPr>
          <p:cNvCxnSpPr>
            <a:cxnSpLocks/>
            <a:stCxn id="15" idx="3"/>
            <a:endCxn id="46" idx="2"/>
          </p:cNvCxnSpPr>
          <p:nvPr/>
        </p:nvCxnSpPr>
        <p:spPr>
          <a:xfrm flipV="1">
            <a:off x="2672081" y="4983359"/>
            <a:ext cx="4005670" cy="33277"/>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96" name="Rectangle 1095">
            <a:extLst>
              <a:ext uri="{FF2B5EF4-FFF2-40B4-BE49-F238E27FC236}">
                <a16:creationId xmlns:a16="http://schemas.microsoft.com/office/drawing/2014/main" id="{2395FE78-3E35-0AD9-B8A7-000E4E913BD8}"/>
              </a:ext>
            </a:extLst>
          </p:cNvPr>
          <p:cNvSpPr/>
          <p:nvPr/>
        </p:nvSpPr>
        <p:spPr>
          <a:xfrm>
            <a:off x="5054856" y="4709026"/>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Hybrid User</a:t>
            </a:r>
          </a:p>
        </p:txBody>
      </p:sp>
      <p:sp>
        <p:nvSpPr>
          <p:cNvPr id="8" name="Oval 7">
            <a:extLst>
              <a:ext uri="{FF2B5EF4-FFF2-40B4-BE49-F238E27FC236}">
                <a16:creationId xmlns:a16="http://schemas.microsoft.com/office/drawing/2014/main" id="{7AB8A562-85C7-1CC8-E218-7B53AEEFD8DD}"/>
              </a:ext>
            </a:extLst>
          </p:cNvPr>
          <p:cNvSpPr/>
          <p:nvPr/>
        </p:nvSpPr>
        <p:spPr bwMode="auto">
          <a:xfrm>
            <a:off x="3573252" y="2145579"/>
            <a:ext cx="1489801" cy="55613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mbine</a:t>
            </a:r>
          </a:p>
        </p:txBody>
      </p:sp>
      <p:cxnSp>
        <p:nvCxnSpPr>
          <p:cNvPr id="11" name="Straight Arrow Connector 10">
            <a:extLst>
              <a:ext uri="{FF2B5EF4-FFF2-40B4-BE49-F238E27FC236}">
                <a16:creationId xmlns:a16="http://schemas.microsoft.com/office/drawing/2014/main" id="{5C1D8983-2475-0A07-4717-8A4285D8E120}"/>
              </a:ext>
            </a:extLst>
          </p:cNvPr>
          <p:cNvCxnSpPr>
            <a:cxnSpLocks/>
            <a:stCxn id="8" idx="6"/>
            <a:endCxn id="63" idx="2"/>
          </p:cNvCxnSpPr>
          <p:nvPr/>
        </p:nvCxnSpPr>
        <p:spPr>
          <a:xfrm flipV="1">
            <a:off x="5063053" y="2415179"/>
            <a:ext cx="1618872" cy="8467"/>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Title 10">
            <a:extLst>
              <a:ext uri="{FF2B5EF4-FFF2-40B4-BE49-F238E27FC236}">
                <a16:creationId xmlns:a16="http://schemas.microsoft.com/office/drawing/2014/main" id="{10FFCC99-2228-ECE8-822F-054879ACB71E}"/>
              </a:ext>
            </a:extLst>
          </p:cNvPr>
          <p:cNvSpPr txBox="1">
            <a:spLocks/>
          </p:cNvSpPr>
          <p:nvPr/>
        </p:nvSpPr>
        <p:spPr>
          <a:xfrm>
            <a:off x="363229" y="85371"/>
            <a:ext cx="11018520" cy="553998"/>
          </a:xfrm>
          <a:prstGeom prst="rect">
            <a:avLst/>
          </a:prstGeom>
        </p:spPr>
        <p:txBody>
          <a:bodyPr anchor="ctr" anchorCtr="0">
            <a:no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rgbClr val="000000"/>
                </a:solidFill>
                <a:effectLst/>
                <a:uLnTx/>
                <a:uFillTx/>
                <a:latin typeface="Segoe UI"/>
                <a:ea typeface="+mn-ea"/>
                <a:cs typeface="Segoe UI" pitchFamily="34" charset="0"/>
              </a:rPr>
              <a:t>Multiple HR Systems Scenario</a:t>
            </a:r>
          </a:p>
        </p:txBody>
      </p:sp>
      <p:sp>
        <p:nvSpPr>
          <p:cNvPr id="32" name="TextBox 31">
            <a:extLst>
              <a:ext uri="{FF2B5EF4-FFF2-40B4-BE49-F238E27FC236}">
                <a16:creationId xmlns:a16="http://schemas.microsoft.com/office/drawing/2014/main" id="{1C43F7EE-03D9-892A-55D9-002C8843B1C7}"/>
              </a:ext>
            </a:extLst>
          </p:cNvPr>
          <p:cNvSpPr txBox="1"/>
          <p:nvPr/>
        </p:nvSpPr>
        <p:spPr>
          <a:xfrm>
            <a:off x="8130849" y="1367960"/>
            <a:ext cx="3776854" cy="467820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 needs to process multiple HR feeds. Multiple stakeholders: </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R team</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ta Services team</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AM team</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irect connectivity to HR is not an option. Customer uses ETL to process HR f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Front line workers and contractors are provisioned cloud-only account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orate employees are provisioned first in on-premises AD and then synced to Entra ID.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 wants to govern access to AD-based applications using Entra ID. </a:t>
            </a:r>
          </a:p>
        </p:txBody>
      </p:sp>
      <p:sp>
        <p:nvSpPr>
          <p:cNvPr id="33" name="Family_EBDA" title="Icon of a family of people">
            <a:extLst>
              <a:ext uri="{FF2B5EF4-FFF2-40B4-BE49-F238E27FC236}">
                <a16:creationId xmlns:a16="http://schemas.microsoft.com/office/drawing/2014/main" id="{E9303A16-33E2-5C66-6085-D887A494112F}"/>
              </a:ext>
            </a:extLst>
          </p:cNvPr>
          <p:cNvSpPr>
            <a:spLocks noChangeAspect="1" noEditPoints="1"/>
          </p:cNvSpPr>
          <p:nvPr/>
        </p:nvSpPr>
        <p:spPr bwMode="auto">
          <a:xfrm>
            <a:off x="7221111" y="2829794"/>
            <a:ext cx="310439" cy="28014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FCAC5835-21DB-D051-18A7-987BE8D5F6A7}"/>
              </a:ext>
            </a:extLst>
          </p:cNvPr>
          <p:cNvCxnSpPr>
            <a:cxnSpLocks/>
          </p:cNvCxnSpPr>
          <p:nvPr/>
        </p:nvCxnSpPr>
        <p:spPr>
          <a:xfrm>
            <a:off x="7376330" y="3145556"/>
            <a:ext cx="0" cy="441703"/>
          </a:xfrm>
          <a:prstGeom prst="straightConnector1">
            <a:avLst/>
          </a:prstGeom>
          <a:ln w="1905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80F8E83-D84D-19AB-2718-066112016F69}"/>
              </a:ext>
            </a:extLst>
          </p:cNvPr>
          <p:cNvSpPr txBox="1"/>
          <p:nvPr/>
        </p:nvSpPr>
        <p:spPr>
          <a:xfrm>
            <a:off x="6479235" y="3220742"/>
            <a:ext cx="839722" cy="48474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Govern apps that use AD groups</a:t>
            </a:r>
          </a:p>
        </p:txBody>
      </p:sp>
      <p:sp>
        <p:nvSpPr>
          <p:cNvPr id="42" name="TextBox 41">
            <a:extLst>
              <a:ext uri="{FF2B5EF4-FFF2-40B4-BE49-F238E27FC236}">
                <a16:creationId xmlns:a16="http://schemas.microsoft.com/office/drawing/2014/main" id="{60B1D172-5A42-4950-55EE-1D6396E741CF}"/>
              </a:ext>
            </a:extLst>
          </p:cNvPr>
          <p:cNvSpPr txBox="1"/>
          <p:nvPr/>
        </p:nvSpPr>
        <p:spPr>
          <a:xfrm>
            <a:off x="600170" y="5941896"/>
            <a:ext cx="196156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 = Frontline Workers</a:t>
            </a:r>
          </a:p>
        </p:txBody>
      </p:sp>
      <p:sp>
        <p:nvSpPr>
          <p:cNvPr id="1024" name="TextBox 1023">
            <a:extLst>
              <a:ext uri="{FF2B5EF4-FFF2-40B4-BE49-F238E27FC236}">
                <a16:creationId xmlns:a16="http://schemas.microsoft.com/office/drawing/2014/main" id="{AA2C0866-14E6-C8D7-6A97-7FB50E793FE7}"/>
              </a:ext>
            </a:extLst>
          </p:cNvPr>
          <p:cNvSpPr txBox="1"/>
          <p:nvPr/>
        </p:nvSpPr>
        <p:spPr>
          <a:xfrm>
            <a:off x="600248" y="6235925"/>
            <a:ext cx="231082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rp = Corporate employees</a:t>
            </a:r>
          </a:p>
        </p:txBody>
      </p:sp>
      <p:sp>
        <p:nvSpPr>
          <p:cNvPr id="2" name="TextBox 1">
            <a:extLst>
              <a:ext uri="{FF2B5EF4-FFF2-40B4-BE49-F238E27FC236}">
                <a16:creationId xmlns:a16="http://schemas.microsoft.com/office/drawing/2014/main" id="{D5CE5C12-AE9F-938E-C83B-558AFAF899BD}"/>
              </a:ext>
            </a:extLst>
          </p:cNvPr>
          <p:cNvSpPr txBox="1"/>
          <p:nvPr/>
        </p:nvSpPr>
        <p:spPr>
          <a:xfrm>
            <a:off x="457200" y="710742"/>
            <a:ext cx="8285345" cy="307777"/>
          </a:xfrm>
          <a:prstGeom prst="rect">
            <a:avLst/>
          </a:prstGeom>
          <a:noFill/>
        </p:spPr>
        <p:txBody>
          <a:bodyPr wrap="none" lIns="0" tIns="0" rIns="0" bIns="0" rtlCol="0">
            <a:spAutoFit/>
          </a:bodyPr>
          <a:lstStyle/>
          <a:p>
            <a:pPr algn="l"/>
            <a:r>
              <a:rPr lang="en-US" sz="2000">
                <a:solidFill>
                  <a:schemeClr val="accent1"/>
                </a:solidFill>
              </a:rPr>
              <a:t>As a system integrator, you may often come across this scenario, where… </a:t>
            </a:r>
          </a:p>
        </p:txBody>
      </p:sp>
      <p:sp>
        <p:nvSpPr>
          <p:cNvPr id="9" name="TextBox 8">
            <a:extLst>
              <a:ext uri="{FF2B5EF4-FFF2-40B4-BE49-F238E27FC236}">
                <a16:creationId xmlns:a16="http://schemas.microsoft.com/office/drawing/2014/main" id="{0A433C85-449C-7195-5A2E-D89DFC790FB3}"/>
              </a:ext>
            </a:extLst>
          </p:cNvPr>
          <p:cNvSpPr txBox="1"/>
          <p:nvPr/>
        </p:nvSpPr>
        <p:spPr>
          <a:xfrm>
            <a:off x="612667" y="6520095"/>
            <a:ext cx="23448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Segoe UI"/>
              </a:rPr>
              <a:t>ETL</a:t>
            </a:r>
            <a:r>
              <a:rPr kumimoji="0" lang="en-US" sz="1400" b="0" i="0" u="none" strike="noStrike" kern="1200" cap="none" spc="0" normalizeH="0" baseline="0" noProof="0">
                <a:ln>
                  <a:noFill/>
                </a:ln>
                <a:solidFill>
                  <a:srgbClr val="000000"/>
                </a:solidFill>
                <a:effectLst/>
                <a:uLnTx/>
                <a:uFillTx/>
                <a:latin typeface="Segoe UI"/>
                <a:ea typeface="+mn-ea"/>
                <a:cs typeface="+mn-cs"/>
              </a:rPr>
              <a:t> = Extract-Transform-Load</a:t>
            </a:r>
          </a:p>
        </p:txBody>
      </p:sp>
    </p:spTree>
    <p:extLst>
      <p:ext uri="{BB962C8B-B14F-4D97-AF65-F5344CB8AC3E}">
        <p14:creationId xmlns:p14="http://schemas.microsoft.com/office/powerpoint/2010/main" val="2519209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0" name="Straight Arrow Connector 1039">
            <a:extLst>
              <a:ext uri="{FF2B5EF4-FFF2-40B4-BE49-F238E27FC236}">
                <a16:creationId xmlns:a16="http://schemas.microsoft.com/office/drawing/2014/main" id="{788D86D4-B393-5D2A-A032-EA63E35D2440}"/>
              </a:ext>
            </a:extLst>
          </p:cNvPr>
          <p:cNvCxnSpPr>
            <a:cxnSpLocks/>
            <a:stCxn id="62" idx="3"/>
            <a:endCxn id="31" idx="1"/>
          </p:cNvCxnSpPr>
          <p:nvPr/>
        </p:nvCxnSpPr>
        <p:spPr>
          <a:xfrm flipV="1">
            <a:off x="5408208" y="2087056"/>
            <a:ext cx="1423676" cy="8865"/>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86B2309-84D1-4E67-800B-24629686D52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lowchart: Document 3">
            <a:extLst>
              <a:ext uri="{FF2B5EF4-FFF2-40B4-BE49-F238E27FC236}">
                <a16:creationId xmlns:a16="http://schemas.microsoft.com/office/drawing/2014/main" id="{D21125E2-CA56-3E5A-10A2-AD590F2B5EC7}"/>
              </a:ext>
            </a:extLst>
          </p:cNvPr>
          <p:cNvSpPr/>
          <p:nvPr/>
        </p:nvSpPr>
        <p:spPr>
          <a:xfrm>
            <a:off x="755305" y="1746679"/>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employee-feed.csv</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3C9EE328-766D-EA30-9829-84DC4992E479}"/>
              </a:ext>
            </a:extLst>
          </p:cNvPr>
          <p:cNvSpPr/>
          <p:nvPr/>
        </p:nvSpPr>
        <p:spPr bwMode="auto">
          <a:xfrm>
            <a:off x="602714" y="1124392"/>
            <a:ext cx="2185851"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C314A006-7F80-6CB6-21EE-928289E7FE4A}"/>
              </a:ext>
            </a:extLst>
          </p:cNvPr>
          <p:cNvSpPr/>
          <p:nvPr/>
        </p:nvSpPr>
        <p:spPr bwMode="auto">
          <a:xfrm>
            <a:off x="594005" y="1122215"/>
            <a:ext cx="2194560"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les generated by different HR sources</a:t>
            </a:r>
          </a:p>
        </p:txBody>
      </p:sp>
      <p:cxnSp>
        <p:nvCxnSpPr>
          <p:cNvPr id="22" name="Straight Arrow Connector 21">
            <a:extLst>
              <a:ext uri="{FF2B5EF4-FFF2-40B4-BE49-F238E27FC236}">
                <a16:creationId xmlns:a16="http://schemas.microsoft.com/office/drawing/2014/main" id="{0C8AF0FF-47AE-C8C0-C1A0-7D594B61518A}"/>
              </a:ext>
            </a:extLst>
          </p:cNvPr>
          <p:cNvCxnSpPr>
            <a:cxnSpLocks/>
          </p:cNvCxnSpPr>
          <p:nvPr/>
        </p:nvCxnSpPr>
        <p:spPr>
          <a:xfrm rot="5400000">
            <a:off x="-445062" y="-955144"/>
            <a:ext cx="218119" cy="98587"/>
          </a:xfrm>
          <a:prstGeom prst="bentConnector3">
            <a:avLst>
              <a:gd name="adj1" fmla="val 5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C24391C-5D67-FF98-0E7E-42EC91F8415F}"/>
              </a:ext>
            </a:extLst>
          </p:cNvPr>
          <p:cNvCxnSpPr>
            <a:cxnSpLocks/>
            <a:stCxn id="63" idx="4"/>
            <a:endCxn id="46" idx="0"/>
          </p:cNvCxnSpPr>
          <p:nvPr/>
        </p:nvCxnSpPr>
        <p:spPr>
          <a:xfrm>
            <a:off x="10963805" y="2466168"/>
            <a:ext cx="4535" cy="1847014"/>
          </a:xfrm>
          <a:prstGeom prst="straightConnector1">
            <a:avLst/>
          </a:prstGeom>
          <a:noFill/>
          <a:ln w="19050" cap="rnd" cmpd="sng" algn="ctr">
            <a:solidFill>
              <a:srgbClr val="0078D4"/>
            </a:solidFill>
            <a:prstDash val="sysDot"/>
            <a:headEnd type="arrow" w="lg" len="lg"/>
            <a:tailEnd type="arrow" w="lg" len="lg"/>
          </a:ln>
          <a:effectLst/>
        </p:spPr>
      </p:cxnSp>
      <p:sp>
        <p:nvSpPr>
          <p:cNvPr id="39" name="TextBox 38">
            <a:extLst>
              <a:ext uri="{FF2B5EF4-FFF2-40B4-BE49-F238E27FC236}">
                <a16:creationId xmlns:a16="http://schemas.microsoft.com/office/drawing/2014/main" id="{24AE3BFF-7130-F4D8-2218-90DF06605019}"/>
              </a:ext>
            </a:extLst>
          </p:cNvPr>
          <p:cNvSpPr txBox="1"/>
          <p:nvPr/>
        </p:nvSpPr>
        <p:spPr>
          <a:xfrm>
            <a:off x="10499485" y="1208985"/>
            <a:ext cx="956042"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 Entra ID </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6E519285-AA50-130C-EDE3-59A69CDE07C2}"/>
              </a:ext>
            </a:extLst>
          </p:cNvPr>
          <p:cNvSpPr txBox="1"/>
          <p:nvPr/>
        </p:nvSpPr>
        <p:spPr>
          <a:xfrm>
            <a:off x="10302995" y="5190391"/>
            <a:ext cx="1330688" cy="405394"/>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sp>
        <p:nvSpPr>
          <p:cNvPr id="43" name="Rectangle 42">
            <a:extLst>
              <a:ext uri="{FF2B5EF4-FFF2-40B4-BE49-F238E27FC236}">
                <a16:creationId xmlns:a16="http://schemas.microsoft.com/office/drawing/2014/main" id="{1B6E0632-C77D-F0D0-25AD-5EA563451359}"/>
              </a:ext>
            </a:extLst>
          </p:cNvPr>
          <p:cNvSpPr/>
          <p:nvPr/>
        </p:nvSpPr>
        <p:spPr>
          <a:xfrm>
            <a:off x="10193423" y="3548505"/>
            <a:ext cx="1540762" cy="338554"/>
          </a:xfrm>
          <a:prstGeom prst="rect">
            <a:avLst/>
          </a:prstGeom>
          <a:solidFill>
            <a:srgbClr val="F8F8F8"/>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Entra Connec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Cloud Sync</a:t>
            </a:r>
          </a:p>
        </p:txBody>
      </p:sp>
      <p:sp>
        <p:nvSpPr>
          <p:cNvPr id="44" name="Rectangle 43">
            <a:extLst>
              <a:ext uri="{FF2B5EF4-FFF2-40B4-BE49-F238E27FC236}">
                <a16:creationId xmlns:a16="http://schemas.microsoft.com/office/drawing/2014/main" id="{A8A68392-30D3-15E7-9CFE-4BA1F1A2577F}"/>
              </a:ext>
            </a:extLst>
          </p:cNvPr>
          <p:cNvSpPr/>
          <p:nvPr/>
        </p:nvSpPr>
        <p:spPr>
          <a:xfrm>
            <a:off x="9523988" y="4165921"/>
            <a:ext cx="1188459" cy="15926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50" normalizeH="0" baseline="0" noProof="0">
                <a:ln>
                  <a:noFill/>
                </a:ln>
                <a:solidFill>
                  <a:srgbClr val="000000"/>
                </a:solidFill>
                <a:effectLst/>
                <a:uLnTx/>
                <a:uFillTx/>
                <a:latin typeface="Segoe UI"/>
                <a:ea typeface="+mn-ea"/>
                <a:cs typeface="+mn-cs"/>
              </a:rPr>
              <a:t>Provisioning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50" normalizeH="0" baseline="0" noProof="0">
                <a:ln>
                  <a:noFill/>
                </a:ln>
                <a:solidFill>
                  <a:srgbClr val="000000"/>
                </a:solidFill>
                <a:effectLst/>
                <a:uLnTx/>
                <a:uFillTx/>
                <a:latin typeface="Segoe UI"/>
                <a:ea typeface="+mn-ea"/>
                <a:cs typeface="+mn-cs"/>
              </a:rPr>
              <a:t>Agent</a:t>
            </a:r>
          </a:p>
        </p:txBody>
      </p:sp>
      <p:grpSp>
        <p:nvGrpSpPr>
          <p:cNvPr id="45" name="Group 44">
            <a:extLst>
              <a:ext uri="{FF2B5EF4-FFF2-40B4-BE49-F238E27FC236}">
                <a16:creationId xmlns:a16="http://schemas.microsoft.com/office/drawing/2014/main" id="{4B2A6D2A-343A-AF3C-4B73-170708E2FFEE}"/>
              </a:ext>
            </a:extLst>
          </p:cNvPr>
          <p:cNvGrpSpPr/>
          <p:nvPr/>
        </p:nvGrpSpPr>
        <p:grpSpPr>
          <a:xfrm>
            <a:off x="10585984" y="4313182"/>
            <a:ext cx="764711" cy="764711"/>
            <a:chOff x="8309777" y="3646178"/>
            <a:chExt cx="731520" cy="731520"/>
          </a:xfrm>
        </p:grpSpPr>
        <p:sp>
          <p:nvSpPr>
            <p:cNvPr id="46" name="Oval 45">
              <a:extLst>
                <a:ext uri="{FF2B5EF4-FFF2-40B4-BE49-F238E27FC236}">
                  <a16:creationId xmlns:a16="http://schemas.microsoft.com/office/drawing/2014/main" id="{EED77FAA-AB69-A94E-FF0B-CE1456A875DE}"/>
                </a:ext>
              </a:extLst>
            </p:cNvPr>
            <p:cNvSpPr/>
            <p:nvPr/>
          </p:nvSpPr>
          <p:spPr bwMode="auto">
            <a:xfrm>
              <a:off x="8309777" y="3646178"/>
              <a:ext cx="731520" cy="731520"/>
            </a:xfrm>
            <a:prstGeom prst="ellipse">
              <a:avLst/>
            </a:prstGeom>
            <a:solidFill>
              <a:schemeClr val="bg1"/>
            </a:solidFill>
            <a:ln w="63500">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078849F2-8E23-099C-3F5C-8572095C5788}"/>
                </a:ext>
              </a:extLst>
            </p:cNvPr>
            <p:cNvGrpSpPr/>
            <p:nvPr/>
          </p:nvGrpSpPr>
          <p:grpSpPr>
            <a:xfrm>
              <a:off x="8416291" y="3816754"/>
              <a:ext cx="477918" cy="343856"/>
              <a:chOff x="8441772" y="3857017"/>
              <a:chExt cx="403143" cy="290056"/>
            </a:xfrm>
          </p:grpSpPr>
          <p:grpSp>
            <p:nvGrpSpPr>
              <p:cNvPr id="48" name="Group 47">
                <a:extLst>
                  <a:ext uri="{FF2B5EF4-FFF2-40B4-BE49-F238E27FC236}">
                    <a16:creationId xmlns:a16="http://schemas.microsoft.com/office/drawing/2014/main" id="{566C87B8-CE72-8337-21F8-E438248C3CD3}"/>
                  </a:ext>
                </a:extLst>
              </p:cNvPr>
              <p:cNvGrpSpPr/>
              <p:nvPr/>
            </p:nvGrpSpPr>
            <p:grpSpPr>
              <a:xfrm flipH="1">
                <a:off x="8687229" y="3857017"/>
                <a:ext cx="157686" cy="262420"/>
                <a:chOff x="6197795" y="5009164"/>
                <a:chExt cx="616636" cy="1026202"/>
              </a:xfrm>
            </p:grpSpPr>
            <p:grpSp>
              <p:nvGrpSpPr>
                <p:cNvPr id="50" name="Picture 88">
                  <a:extLst>
                    <a:ext uri="{FF2B5EF4-FFF2-40B4-BE49-F238E27FC236}">
                      <a16:creationId xmlns:a16="http://schemas.microsoft.com/office/drawing/2014/main" id="{007F9810-2486-E775-C7B6-7269816DA657}"/>
                    </a:ext>
                  </a:extLst>
                </p:cNvPr>
                <p:cNvGrpSpPr/>
                <p:nvPr/>
              </p:nvGrpSpPr>
              <p:grpSpPr>
                <a:xfrm>
                  <a:off x="6197795" y="5009164"/>
                  <a:ext cx="616636" cy="1026202"/>
                  <a:chOff x="6197795" y="5009164"/>
                  <a:chExt cx="616636" cy="1026202"/>
                </a:xfrm>
              </p:grpSpPr>
              <p:sp>
                <p:nvSpPr>
                  <p:cNvPr id="58" name="Freeform: Shape 57">
                    <a:extLst>
                      <a:ext uri="{FF2B5EF4-FFF2-40B4-BE49-F238E27FC236}">
                        <a16:creationId xmlns:a16="http://schemas.microsoft.com/office/drawing/2014/main" id="{AEFD52C6-12C7-8403-B22E-3D5B18DBFFB5}"/>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826B47E5-38CF-BC8F-2451-B90E1501CDBD}"/>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20A8643-8B72-4C79-18DB-916ACF8D1072}"/>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05D0268D-5768-0214-28B4-5D5984A1B2F7}"/>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Rectangle 50">
                  <a:extLst>
                    <a:ext uri="{FF2B5EF4-FFF2-40B4-BE49-F238E27FC236}">
                      <a16:creationId xmlns:a16="http://schemas.microsoft.com/office/drawing/2014/main" id="{DFC8A629-BD97-1FE9-2849-D7BB0E8AEBA5}"/>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1884DBF2-562D-82F3-30FC-96246C26040F}"/>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2B889F-0447-377A-215F-196A9D98D833}"/>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D44912E-15B1-037D-FE0E-38E8F522FA76}"/>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650438B8-C45F-9088-7C3A-3B2473DB50D3}"/>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366A67FE-327F-3A41-A604-4A684B81DB34}"/>
                    </a:ext>
                  </a:extLst>
                </p:cNvPr>
                <p:cNvSpPr/>
                <p:nvPr/>
              </p:nvSpPr>
              <p:spPr bwMode="auto">
                <a:xfrm>
                  <a:off x="6356704" y="57761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77C0975C-24A8-3D9D-6976-6A635E2FED8F}"/>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9DE64809-7E79-300F-B4A3-C2F5E5F022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41772" y="3906109"/>
                <a:ext cx="342298" cy="240964"/>
              </a:xfrm>
              <a:prstGeom prst="rect">
                <a:avLst/>
              </a:prstGeom>
              <a:effectLst>
                <a:outerShdw blurRad="63500" sx="102000" sy="102000" algn="ctr" rotWithShape="0">
                  <a:schemeClr val="bg1">
                    <a:alpha val="40000"/>
                  </a:schemeClr>
                </a:outerShdw>
              </a:effectLst>
            </p:spPr>
          </p:pic>
        </p:grpSp>
      </p:grpSp>
      <p:sp>
        <p:nvSpPr>
          <p:cNvPr id="63" name="Oval 62">
            <a:extLst>
              <a:ext uri="{FF2B5EF4-FFF2-40B4-BE49-F238E27FC236}">
                <a16:creationId xmlns:a16="http://schemas.microsoft.com/office/drawing/2014/main" id="{1DD59D27-404F-8771-3234-C9758B6034FD}"/>
              </a:ext>
            </a:extLst>
          </p:cNvPr>
          <p:cNvSpPr/>
          <p:nvPr/>
        </p:nvSpPr>
        <p:spPr bwMode="auto">
          <a:xfrm>
            <a:off x="10581449" y="1701457"/>
            <a:ext cx="764711" cy="764711"/>
          </a:xfrm>
          <a:prstGeom prst="ellipse">
            <a:avLst/>
          </a:prstGeom>
          <a:solidFill>
            <a:schemeClr val="bg1"/>
          </a:solidFill>
          <a:ln w="63500">
            <a:solidFill>
              <a:schemeClr val="accent1"/>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1037" name="Group 1036">
            <a:extLst>
              <a:ext uri="{FF2B5EF4-FFF2-40B4-BE49-F238E27FC236}">
                <a16:creationId xmlns:a16="http://schemas.microsoft.com/office/drawing/2014/main" id="{E363CEF5-D189-141A-FAD6-30E6BB718E80}"/>
              </a:ext>
            </a:extLst>
          </p:cNvPr>
          <p:cNvGrpSpPr/>
          <p:nvPr/>
        </p:nvGrpSpPr>
        <p:grpSpPr>
          <a:xfrm>
            <a:off x="5961131" y="1836935"/>
            <a:ext cx="465877" cy="465877"/>
            <a:chOff x="4416680" y="3797808"/>
            <a:chExt cx="445656" cy="445656"/>
          </a:xfrm>
        </p:grpSpPr>
        <p:sp>
          <p:nvSpPr>
            <p:cNvPr id="1038" name="Oval 1037">
              <a:extLst>
                <a:ext uri="{FF2B5EF4-FFF2-40B4-BE49-F238E27FC236}">
                  <a16:creationId xmlns:a16="http://schemas.microsoft.com/office/drawing/2014/main" id="{F67982EE-AAD4-0C13-22FB-AB0CCE7D55B7}"/>
                </a:ext>
              </a:extLst>
            </p:cNvPr>
            <p:cNvSpPr/>
            <p:nvPr/>
          </p:nvSpPr>
          <p:spPr bwMode="auto">
            <a:xfrm>
              <a:off x="4416680" y="3797808"/>
              <a:ext cx="445656" cy="445656"/>
            </a:xfrm>
            <a:prstGeom prst="ellipse">
              <a:avLst/>
            </a:prstGeom>
            <a:solidFill>
              <a:schemeClr val="bg1"/>
            </a:solidFill>
            <a:ln w="50800">
              <a:solidFill>
                <a:schemeClr val="tx2"/>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39" name="Graphic 12">
              <a:extLst>
                <a:ext uri="{FF2B5EF4-FFF2-40B4-BE49-F238E27FC236}">
                  <a16:creationId xmlns:a16="http://schemas.microsoft.com/office/drawing/2014/main" id="{15350A3F-C99B-24D6-D3A8-01B944EE29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1524" y="3905987"/>
              <a:ext cx="255968" cy="255968"/>
            </a:xfrm>
            <a:prstGeom prst="rect">
              <a:avLst/>
            </a:prstGeom>
          </p:spPr>
        </p:pic>
      </p:grpSp>
      <p:pic>
        <p:nvPicPr>
          <p:cNvPr id="7" name="Graphic 6">
            <a:extLst>
              <a:ext uri="{FF2B5EF4-FFF2-40B4-BE49-F238E27FC236}">
                <a16:creationId xmlns:a16="http://schemas.microsoft.com/office/drawing/2014/main" id="{50E9E4BA-FC3D-6279-B7C2-3D3C29BA69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942" y="1834608"/>
            <a:ext cx="517725" cy="517725"/>
          </a:xfrm>
          <a:prstGeom prst="rect">
            <a:avLst/>
          </a:prstGeom>
        </p:spPr>
      </p:pic>
      <p:sp>
        <p:nvSpPr>
          <p:cNvPr id="13" name="Flowchart: Document 12">
            <a:extLst>
              <a:ext uri="{FF2B5EF4-FFF2-40B4-BE49-F238E27FC236}">
                <a16:creationId xmlns:a16="http://schemas.microsoft.com/office/drawing/2014/main" id="{5971EFA0-DC13-B10C-A068-3B30C9B46825}"/>
              </a:ext>
            </a:extLst>
          </p:cNvPr>
          <p:cNvSpPr/>
          <p:nvPr/>
        </p:nvSpPr>
        <p:spPr>
          <a:xfrm>
            <a:off x="755305" y="2557849"/>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Badge-id.csv</a:t>
            </a:r>
          </a:p>
        </p:txBody>
      </p:sp>
      <p:sp>
        <p:nvSpPr>
          <p:cNvPr id="15" name="Flowchart: Document 14">
            <a:extLst>
              <a:ext uri="{FF2B5EF4-FFF2-40B4-BE49-F238E27FC236}">
                <a16:creationId xmlns:a16="http://schemas.microsoft.com/office/drawing/2014/main" id="{67D07D8F-22EF-F6DA-7A16-5A268CE7EAF8}"/>
              </a:ext>
            </a:extLst>
          </p:cNvPr>
          <p:cNvSpPr/>
          <p:nvPr/>
        </p:nvSpPr>
        <p:spPr>
          <a:xfrm>
            <a:off x="749953" y="4336468"/>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employee-feed.csv</a:t>
            </a:r>
          </a:p>
        </p:txBody>
      </p:sp>
      <p:sp>
        <p:nvSpPr>
          <p:cNvPr id="17" name="Flowchart: Document 16">
            <a:extLst>
              <a:ext uri="{FF2B5EF4-FFF2-40B4-BE49-F238E27FC236}">
                <a16:creationId xmlns:a16="http://schemas.microsoft.com/office/drawing/2014/main" id="{4076150F-9CF2-7F5E-5F62-43E8945B987A}"/>
              </a:ext>
            </a:extLst>
          </p:cNvPr>
          <p:cNvSpPr/>
          <p:nvPr/>
        </p:nvSpPr>
        <p:spPr>
          <a:xfrm>
            <a:off x="756957" y="3376136"/>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actors.csv</a:t>
            </a:r>
          </a:p>
        </p:txBody>
      </p:sp>
      <p:pic>
        <p:nvPicPr>
          <p:cNvPr id="23" name="Graphic 22">
            <a:extLst>
              <a:ext uri="{FF2B5EF4-FFF2-40B4-BE49-F238E27FC236}">
                <a16:creationId xmlns:a16="http://schemas.microsoft.com/office/drawing/2014/main" id="{FFA4A53F-69C5-74BF-F979-BD66BE735B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35911" y="2040708"/>
            <a:ext cx="256635" cy="262104"/>
          </a:xfrm>
          <a:prstGeom prst="rect">
            <a:avLst/>
          </a:prstGeom>
        </p:spPr>
      </p:pic>
      <p:pic>
        <p:nvPicPr>
          <p:cNvPr id="24" name="Graphic 23">
            <a:extLst>
              <a:ext uri="{FF2B5EF4-FFF2-40B4-BE49-F238E27FC236}">
                <a16:creationId xmlns:a16="http://schemas.microsoft.com/office/drawing/2014/main" id="{AE9ADB37-109C-4214-4A09-E37F909B57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67547" y="2814630"/>
            <a:ext cx="268840" cy="261714"/>
          </a:xfrm>
          <a:prstGeom prst="rect">
            <a:avLst/>
          </a:prstGeom>
        </p:spPr>
      </p:pic>
      <p:sp>
        <p:nvSpPr>
          <p:cNvPr id="25" name="people_3" title="Icon of a person surrounded by brackets">
            <a:extLst>
              <a:ext uri="{FF2B5EF4-FFF2-40B4-BE49-F238E27FC236}">
                <a16:creationId xmlns:a16="http://schemas.microsoft.com/office/drawing/2014/main" id="{7EBB459D-6FC6-8F0E-11CD-DE497AED96A3}"/>
              </a:ext>
            </a:extLst>
          </p:cNvPr>
          <p:cNvSpPr>
            <a:spLocks noChangeAspect="1" noEditPoints="1"/>
          </p:cNvSpPr>
          <p:nvPr/>
        </p:nvSpPr>
        <p:spPr bwMode="auto">
          <a:xfrm>
            <a:off x="2390592" y="3611448"/>
            <a:ext cx="226053" cy="2278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ContactCard_EEBD" title="Icon of a contact card">
            <a:extLst>
              <a:ext uri="{FF2B5EF4-FFF2-40B4-BE49-F238E27FC236}">
                <a16:creationId xmlns:a16="http://schemas.microsoft.com/office/drawing/2014/main" id="{E6204CB7-FD70-74CD-87DB-F8717E479823}"/>
              </a:ext>
            </a:extLst>
          </p:cNvPr>
          <p:cNvSpPr>
            <a:spLocks noChangeAspect="1" noEditPoints="1"/>
          </p:cNvSpPr>
          <p:nvPr/>
        </p:nvSpPr>
        <p:spPr bwMode="auto">
          <a:xfrm>
            <a:off x="2315617" y="4613519"/>
            <a:ext cx="285489" cy="20949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7" name="Picture 2" descr="MANTA Release 38: Two New Scanners ...">
            <a:extLst>
              <a:ext uri="{FF2B5EF4-FFF2-40B4-BE49-F238E27FC236}">
                <a16:creationId xmlns:a16="http://schemas.microsoft.com/office/drawing/2014/main" id="{F86C6B2D-1B29-94AF-35CC-4F4BAB22445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94342" y="1138269"/>
            <a:ext cx="1503820" cy="535936"/>
          </a:xfrm>
          <a:prstGeom prst="rect">
            <a:avLst/>
          </a:prstGeom>
          <a:noFill/>
          <a:ln>
            <a:solidFill>
              <a:srgbClr val="0078D4"/>
            </a:solidFill>
          </a:ln>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04A686A1-0C6F-8738-C834-F9E43151E8DA}"/>
              </a:ext>
            </a:extLst>
          </p:cNvPr>
          <p:cNvSpPr/>
          <p:nvPr/>
        </p:nvSpPr>
        <p:spPr bwMode="auto">
          <a:xfrm>
            <a:off x="5862378" y="1166769"/>
            <a:ext cx="2897444"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7C59D3-7532-28CE-32C7-904957E2B84C}"/>
              </a:ext>
            </a:extLst>
          </p:cNvPr>
          <p:cNvSpPr/>
          <p:nvPr/>
        </p:nvSpPr>
        <p:spPr bwMode="auto">
          <a:xfrm>
            <a:off x="5856473" y="1164592"/>
            <a:ext cx="2903348"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ntra Provisioning Service</a:t>
            </a:r>
          </a:p>
        </p:txBody>
      </p:sp>
      <p:sp>
        <p:nvSpPr>
          <p:cNvPr id="31" name="Rectangle: Rounded Corners 30">
            <a:extLst>
              <a:ext uri="{FF2B5EF4-FFF2-40B4-BE49-F238E27FC236}">
                <a16:creationId xmlns:a16="http://schemas.microsoft.com/office/drawing/2014/main" id="{FDF860EB-1AE8-933D-E007-E844B488CD11}"/>
              </a:ext>
            </a:extLst>
          </p:cNvPr>
          <p:cNvSpPr/>
          <p:nvPr/>
        </p:nvSpPr>
        <p:spPr bwMode="auto">
          <a:xfrm>
            <a:off x="6831884" y="1803244"/>
            <a:ext cx="1591023" cy="56762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LW Employee Provisioning App</a:t>
            </a:r>
          </a:p>
        </p:txBody>
      </p:sp>
      <p:sp>
        <p:nvSpPr>
          <p:cNvPr id="62" name="Flowchart: Predefined Process 61">
            <a:extLst>
              <a:ext uri="{FF2B5EF4-FFF2-40B4-BE49-F238E27FC236}">
                <a16:creationId xmlns:a16="http://schemas.microsoft.com/office/drawing/2014/main" id="{9332AF0E-A981-EE6A-FD72-7ADB0CCE6C00}"/>
              </a:ext>
            </a:extLst>
          </p:cNvPr>
          <p:cNvSpPr/>
          <p:nvPr/>
        </p:nvSpPr>
        <p:spPr bwMode="auto">
          <a:xfrm>
            <a:off x="3150618" y="1766926"/>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front-line-worker feed</a:t>
            </a:r>
          </a:p>
        </p:txBody>
      </p:sp>
      <p:cxnSp>
        <p:nvCxnSpPr>
          <p:cNvPr id="1029" name="Straight Arrow Connector 1028">
            <a:extLst>
              <a:ext uri="{FF2B5EF4-FFF2-40B4-BE49-F238E27FC236}">
                <a16:creationId xmlns:a16="http://schemas.microsoft.com/office/drawing/2014/main" id="{1D71A7D1-4BEB-D394-0858-828D9987C3E4}"/>
              </a:ext>
            </a:extLst>
          </p:cNvPr>
          <p:cNvCxnSpPr>
            <a:stCxn id="4" idx="3"/>
            <a:endCxn id="62" idx="1"/>
          </p:cNvCxnSpPr>
          <p:nvPr/>
        </p:nvCxnSpPr>
        <p:spPr>
          <a:xfrm>
            <a:off x="2679899" y="2095921"/>
            <a:ext cx="470719" cy="0"/>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9" name="Straight Arrow Connector 1048">
            <a:extLst>
              <a:ext uri="{FF2B5EF4-FFF2-40B4-BE49-F238E27FC236}">
                <a16:creationId xmlns:a16="http://schemas.microsoft.com/office/drawing/2014/main" id="{D3CAEDEF-6C60-78AC-753C-8D637FF47BF6}"/>
              </a:ext>
            </a:extLst>
          </p:cNvPr>
          <p:cNvCxnSpPr>
            <a:cxnSpLocks/>
            <a:stCxn id="13" idx="3"/>
            <a:endCxn id="62" idx="2"/>
          </p:cNvCxnSpPr>
          <p:nvPr/>
        </p:nvCxnSpPr>
        <p:spPr>
          <a:xfrm flipV="1">
            <a:off x="2679899" y="2424915"/>
            <a:ext cx="1599514" cy="482176"/>
          </a:xfrm>
          <a:prstGeom prst="bentConnector2">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5" name="Straight Arrow Connector 1054">
            <a:extLst>
              <a:ext uri="{FF2B5EF4-FFF2-40B4-BE49-F238E27FC236}">
                <a16:creationId xmlns:a16="http://schemas.microsoft.com/office/drawing/2014/main" id="{5689B4C4-4608-1610-5466-19DB2615D91C}"/>
              </a:ext>
            </a:extLst>
          </p:cNvPr>
          <p:cNvCxnSpPr>
            <a:cxnSpLocks/>
            <a:stCxn id="31" idx="3"/>
            <a:endCxn id="63" idx="2"/>
          </p:cNvCxnSpPr>
          <p:nvPr/>
        </p:nvCxnSpPr>
        <p:spPr>
          <a:xfrm flipV="1">
            <a:off x="8422907" y="2083813"/>
            <a:ext cx="2158542" cy="3243"/>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0" name="Rectangle 1059">
            <a:extLst>
              <a:ext uri="{FF2B5EF4-FFF2-40B4-BE49-F238E27FC236}">
                <a16:creationId xmlns:a16="http://schemas.microsoft.com/office/drawing/2014/main" id="{15D343A2-3B18-FA83-8F41-5DFAFD528E4D}"/>
              </a:ext>
            </a:extLst>
          </p:cNvPr>
          <p:cNvSpPr/>
          <p:nvPr/>
        </p:nvSpPr>
        <p:spPr>
          <a:xfrm>
            <a:off x="8754468" y="1846864"/>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Cloud Only Users</a:t>
            </a:r>
          </a:p>
        </p:txBody>
      </p:sp>
      <p:sp>
        <p:nvSpPr>
          <p:cNvPr id="1062" name="Flowchart: Predefined Process 1061">
            <a:extLst>
              <a:ext uri="{FF2B5EF4-FFF2-40B4-BE49-F238E27FC236}">
                <a16:creationId xmlns:a16="http://schemas.microsoft.com/office/drawing/2014/main" id="{12797D2B-74F0-663A-7EB0-950AAE4D91FB}"/>
              </a:ext>
            </a:extLst>
          </p:cNvPr>
          <p:cNvSpPr/>
          <p:nvPr/>
        </p:nvSpPr>
        <p:spPr bwMode="auto">
          <a:xfrm>
            <a:off x="3152270" y="3392295"/>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contractor feed</a:t>
            </a:r>
          </a:p>
        </p:txBody>
      </p:sp>
      <p:cxnSp>
        <p:nvCxnSpPr>
          <p:cNvPr id="1063" name="Straight Arrow Connector 1062">
            <a:extLst>
              <a:ext uri="{FF2B5EF4-FFF2-40B4-BE49-F238E27FC236}">
                <a16:creationId xmlns:a16="http://schemas.microsoft.com/office/drawing/2014/main" id="{DB9B8A1B-DF95-E007-B702-06BE0D188CBA}"/>
              </a:ext>
            </a:extLst>
          </p:cNvPr>
          <p:cNvCxnSpPr>
            <a:cxnSpLocks/>
            <a:stCxn id="17" idx="3"/>
            <a:endCxn id="1062" idx="1"/>
          </p:cNvCxnSpPr>
          <p:nvPr/>
        </p:nvCxnSpPr>
        <p:spPr>
          <a:xfrm flipV="1">
            <a:off x="2681551" y="3721290"/>
            <a:ext cx="470719" cy="4088"/>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68" name="Straight Arrow Connector 1067">
            <a:extLst>
              <a:ext uri="{FF2B5EF4-FFF2-40B4-BE49-F238E27FC236}">
                <a16:creationId xmlns:a16="http://schemas.microsoft.com/office/drawing/2014/main" id="{E9D49B8D-90DE-6900-DD6D-BF7ECF8EC33C}"/>
              </a:ext>
            </a:extLst>
          </p:cNvPr>
          <p:cNvCxnSpPr>
            <a:cxnSpLocks/>
            <a:stCxn id="1062" idx="3"/>
            <a:endCxn id="1072" idx="1"/>
          </p:cNvCxnSpPr>
          <p:nvPr/>
        </p:nvCxnSpPr>
        <p:spPr>
          <a:xfrm flipV="1">
            <a:off x="5409860" y="3702326"/>
            <a:ext cx="1422024" cy="18964"/>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69" name="Group 1068">
            <a:extLst>
              <a:ext uri="{FF2B5EF4-FFF2-40B4-BE49-F238E27FC236}">
                <a16:creationId xmlns:a16="http://schemas.microsoft.com/office/drawing/2014/main" id="{5B7D4449-9CAD-4528-ED45-29900BEB915C}"/>
              </a:ext>
            </a:extLst>
          </p:cNvPr>
          <p:cNvGrpSpPr/>
          <p:nvPr/>
        </p:nvGrpSpPr>
        <p:grpSpPr>
          <a:xfrm>
            <a:off x="5961131" y="3452205"/>
            <a:ext cx="465877" cy="465877"/>
            <a:chOff x="4416680" y="3797808"/>
            <a:chExt cx="445656" cy="445656"/>
          </a:xfrm>
        </p:grpSpPr>
        <p:sp>
          <p:nvSpPr>
            <p:cNvPr id="1070" name="Oval 1069">
              <a:extLst>
                <a:ext uri="{FF2B5EF4-FFF2-40B4-BE49-F238E27FC236}">
                  <a16:creationId xmlns:a16="http://schemas.microsoft.com/office/drawing/2014/main" id="{FA75B2FD-A66D-8B3F-E709-5EEB3E89A331}"/>
                </a:ext>
              </a:extLst>
            </p:cNvPr>
            <p:cNvSpPr/>
            <p:nvPr/>
          </p:nvSpPr>
          <p:spPr bwMode="auto">
            <a:xfrm>
              <a:off x="4416680" y="3797808"/>
              <a:ext cx="445656" cy="445656"/>
            </a:xfrm>
            <a:prstGeom prst="ellipse">
              <a:avLst/>
            </a:prstGeom>
            <a:solidFill>
              <a:schemeClr val="bg1"/>
            </a:solidFill>
            <a:ln w="50800">
              <a:solidFill>
                <a:srgbClr val="FF9349"/>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71" name="Graphic 12">
              <a:extLst>
                <a:ext uri="{FF2B5EF4-FFF2-40B4-BE49-F238E27FC236}">
                  <a16:creationId xmlns:a16="http://schemas.microsoft.com/office/drawing/2014/main" id="{03AAF7F3-CA9D-F246-FE38-D53D82F93E9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11524" y="3905987"/>
              <a:ext cx="255968" cy="255968"/>
            </a:xfrm>
            <a:prstGeom prst="rect">
              <a:avLst/>
            </a:prstGeom>
          </p:spPr>
        </p:pic>
      </p:grpSp>
      <p:sp>
        <p:nvSpPr>
          <p:cNvPr id="1072" name="Rectangle: Rounded Corners 1071">
            <a:extLst>
              <a:ext uri="{FF2B5EF4-FFF2-40B4-BE49-F238E27FC236}">
                <a16:creationId xmlns:a16="http://schemas.microsoft.com/office/drawing/2014/main" id="{0659740B-44B6-6A3D-6337-C5E47343B68E}"/>
              </a:ext>
            </a:extLst>
          </p:cNvPr>
          <p:cNvSpPr/>
          <p:nvPr/>
        </p:nvSpPr>
        <p:spPr bwMode="auto">
          <a:xfrm>
            <a:off x="6831884" y="3418514"/>
            <a:ext cx="1591023" cy="567624"/>
          </a:xfrm>
          <a:prstGeom prst="roundRect">
            <a:avLst/>
          </a:prstGeom>
          <a:solidFill>
            <a:srgbClr val="D83B0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tractor Provisioning App</a:t>
            </a:r>
          </a:p>
        </p:txBody>
      </p:sp>
      <p:cxnSp>
        <p:nvCxnSpPr>
          <p:cNvPr id="1074" name="Straight Arrow Connector 1073">
            <a:extLst>
              <a:ext uri="{FF2B5EF4-FFF2-40B4-BE49-F238E27FC236}">
                <a16:creationId xmlns:a16="http://schemas.microsoft.com/office/drawing/2014/main" id="{5307C0E3-4D8C-5942-4448-3EF8CFA6AA3A}"/>
              </a:ext>
            </a:extLst>
          </p:cNvPr>
          <p:cNvCxnSpPr>
            <a:cxnSpLocks/>
            <a:stCxn id="1072" idx="3"/>
            <a:endCxn id="63" idx="3"/>
          </p:cNvCxnSpPr>
          <p:nvPr/>
        </p:nvCxnSpPr>
        <p:spPr>
          <a:xfrm flipV="1">
            <a:off x="8422907" y="2354179"/>
            <a:ext cx="2270531" cy="1348147"/>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77" name="Flowchart: Predefined Process 1076">
            <a:extLst>
              <a:ext uri="{FF2B5EF4-FFF2-40B4-BE49-F238E27FC236}">
                <a16:creationId xmlns:a16="http://schemas.microsoft.com/office/drawing/2014/main" id="{8F48F439-C4C8-FEDC-3094-EDB0B5D1AE50}"/>
              </a:ext>
            </a:extLst>
          </p:cNvPr>
          <p:cNvSpPr/>
          <p:nvPr/>
        </p:nvSpPr>
        <p:spPr bwMode="auto">
          <a:xfrm>
            <a:off x="3155668" y="4355137"/>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Corp employee feed</a:t>
            </a:r>
          </a:p>
        </p:txBody>
      </p:sp>
      <p:sp>
        <p:nvSpPr>
          <p:cNvPr id="1078" name="Rectangle: Rounded Corners 1077">
            <a:extLst>
              <a:ext uri="{FF2B5EF4-FFF2-40B4-BE49-F238E27FC236}">
                <a16:creationId xmlns:a16="http://schemas.microsoft.com/office/drawing/2014/main" id="{5B46CCC7-B967-C1D9-B399-E1ABAE32D45C}"/>
              </a:ext>
            </a:extLst>
          </p:cNvPr>
          <p:cNvSpPr/>
          <p:nvPr/>
        </p:nvSpPr>
        <p:spPr bwMode="auto">
          <a:xfrm>
            <a:off x="6850044" y="4393714"/>
            <a:ext cx="1572863" cy="567624"/>
          </a:xfrm>
          <a:prstGeom prst="round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rp Employee Provisioning App</a:t>
            </a:r>
          </a:p>
        </p:txBody>
      </p:sp>
      <p:cxnSp>
        <p:nvCxnSpPr>
          <p:cNvPr id="1079" name="Straight Arrow Connector 1078">
            <a:extLst>
              <a:ext uri="{FF2B5EF4-FFF2-40B4-BE49-F238E27FC236}">
                <a16:creationId xmlns:a16="http://schemas.microsoft.com/office/drawing/2014/main" id="{9970CB9F-D733-BE78-FFFF-8D323FE2D46D}"/>
              </a:ext>
            </a:extLst>
          </p:cNvPr>
          <p:cNvCxnSpPr>
            <a:cxnSpLocks/>
            <a:stCxn id="15" idx="3"/>
            <a:endCxn id="1077" idx="1"/>
          </p:cNvCxnSpPr>
          <p:nvPr/>
        </p:nvCxnSpPr>
        <p:spPr>
          <a:xfrm flipV="1">
            <a:off x="2674547" y="4684132"/>
            <a:ext cx="481121" cy="1578"/>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68459F0F-BAE4-51CB-358A-75BB2ED27C1E}"/>
              </a:ext>
            </a:extLst>
          </p:cNvPr>
          <p:cNvCxnSpPr>
            <a:cxnSpLocks/>
            <a:stCxn id="1077" idx="3"/>
            <a:endCxn id="1078" idx="1"/>
          </p:cNvCxnSpPr>
          <p:nvPr/>
        </p:nvCxnSpPr>
        <p:spPr>
          <a:xfrm flipV="1">
            <a:off x="5413258" y="4677526"/>
            <a:ext cx="1436786" cy="6606"/>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81" name="Group 1080">
            <a:extLst>
              <a:ext uri="{FF2B5EF4-FFF2-40B4-BE49-F238E27FC236}">
                <a16:creationId xmlns:a16="http://schemas.microsoft.com/office/drawing/2014/main" id="{0A521F08-FFE3-0200-8FF9-82C6B73C0B31}"/>
              </a:ext>
            </a:extLst>
          </p:cNvPr>
          <p:cNvGrpSpPr/>
          <p:nvPr/>
        </p:nvGrpSpPr>
        <p:grpSpPr>
          <a:xfrm>
            <a:off x="5977950" y="4424929"/>
            <a:ext cx="465877" cy="465877"/>
            <a:chOff x="4416680" y="3797808"/>
            <a:chExt cx="445656" cy="445656"/>
          </a:xfrm>
        </p:grpSpPr>
        <p:sp>
          <p:nvSpPr>
            <p:cNvPr id="1082" name="Oval 1081">
              <a:extLst>
                <a:ext uri="{FF2B5EF4-FFF2-40B4-BE49-F238E27FC236}">
                  <a16:creationId xmlns:a16="http://schemas.microsoft.com/office/drawing/2014/main" id="{E54DB90E-81E0-CB68-3801-A5537C649A0C}"/>
                </a:ext>
              </a:extLst>
            </p:cNvPr>
            <p:cNvSpPr/>
            <p:nvPr/>
          </p:nvSpPr>
          <p:spPr bwMode="auto">
            <a:xfrm>
              <a:off x="4416680" y="3797808"/>
              <a:ext cx="445656" cy="445656"/>
            </a:xfrm>
            <a:prstGeom prst="ellipse">
              <a:avLst/>
            </a:prstGeom>
            <a:solidFill>
              <a:schemeClr val="bg1"/>
            </a:solidFill>
            <a:ln w="50800">
              <a:solidFill>
                <a:srgbClr val="7030A0"/>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83" name="Graphic 12">
              <a:extLst>
                <a:ext uri="{FF2B5EF4-FFF2-40B4-BE49-F238E27FC236}">
                  <a16:creationId xmlns:a16="http://schemas.microsoft.com/office/drawing/2014/main" id="{0BCB3719-532F-9D1C-7C69-91CF0DB27B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11524" y="3905987"/>
              <a:ext cx="255968" cy="255968"/>
            </a:xfrm>
            <a:prstGeom prst="rect">
              <a:avLst/>
            </a:prstGeom>
          </p:spPr>
        </p:pic>
      </p:grpSp>
      <p:cxnSp>
        <p:nvCxnSpPr>
          <p:cNvPr id="1091" name="Straight Arrow Connector 1090">
            <a:extLst>
              <a:ext uri="{FF2B5EF4-FFF2-40B4-BE49-F238E27FC236}">
                <a16:creationId xmlns:a16="http://schemas.microsoft.com/office/drawing/2014/main" id="{756C5724-14AA-210B-5B69-DB2AB444E4BB}"/>
              </a:ext>
            </a:extLst>
          </p:cNvPr>
          <p:cNvCxnSpPr>
            <a:cxnSpLocks/>
            <a:stCxn id="1078" idx="3"/>
            <a:endCxn id="46" idx="2"/>
          </p:cNvCxnSpPr>
          <p:nvPr/>
        </p:nvCxnSpPr>
        <p:spPr>
          <a:xfrm>
            <a:off x="8422907" y="4677526"/>
            <a:ext cx="2163077" cy="18012"/>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33" name="Group 1032">
            <a:extLst>
              <a:ext uri="{FF2B5EF4-FFF2-40B4-BE49-F238E27FC236}">
                <a16:creationId xmlns:a16="http://schemas.microsoft.com/office/drawing/2014/main" id="{1EC85B22-EC0D-848C-95B5-5A2E1DDF3334}"/>
              </a:ext>
            </a:extLst>
          </p:cNvPr>
          <p:cNvGrpSpPr/>
          <p:nvPr/>
        </p:nvGrpSpPr>
        <p:grpSpPr>
          <a:xfrm>
            <a:off x="9917638" y="4492894"/>
            <a:ext cx="465877" cy="465877"/>
            <a:chOff x="7414123" y="4470741"/>
            <a:chExt cx="457200" cy="457200"/>
          </a:xfrm>
        </p:grpSpPr>
        <p:sp>
          <p:nvSpPr>
            <p:cNvPr id="1034" name="Oval 1033">
              <a:extLst>
                <a:ext uri="{FF2B5EF4-FFF2-40B4-BE49-F238E27FC236}">
                  <a16:creationId xmlns:a16="http://schemas.microsoft.com/office/drawing/2014/main" id="{6AAB698D-9E00-F9EB-B4F4-C74D2E03EBBD}"/>
                </a:ext>
              </a:extLst>
            </p:cNvPr>
            <p:cNvSpPr/>
            <p:nvPr/>
          </p:nvSpPr>
          <p:spPr bwMode="auto">
            <a:xfrm>
              <a:off x="7414123" y="4470741"/>
              <a:ext cx="457200" cy="457200"/>
            </a:xfrm>
            <a:prstGeom prst="ellipse">
              <a:avLst/>
            </a:prstGeom>
            <a:solidFill>
              <a:schemeClr val="bg1"/>
            </a:solidFill>
            <a:ln w="9525">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sp>
          <p:nvSpPr>
            <p:cNvPr id="1035" name="network_3" title="Icon of a server connected to a network">
              <a:extLst>
                <a:ext uri="{FF2B5EF4-FFF2-40B4-BE49-F238E27FC236}">
                  <a16:creationId xmlns:a16="http://schemas.microsoft.com/office/drawing/2014/main" id="{8CC3649C-F5F7-616F-8199-3A2AAD586F1B}"/>
                </a:ext>
              </a:extLst>
            </p:cNvPr>
            <p:cNvSpPr>
              <a:spLocks noChangeAspect="1" noEditPoints="1"/>
            </p:cNvSpPr>
            <p:nvPr/>
          </p:nvSpPr>
          <p:spPr bwMode="auto">
            <a:xfrm>
              <a:off x="7542041" y="4594860"/>
              <a:ext cx="201364" cy="20896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96" name="Rectangle 1095">
            <a:extLst>
              <a:ext uri="{FF2B5EF4-FFF2-40B4-BE49-F238E27FC236}">
                <a16:creationId xmlns:a16="http://schemas.microsoft.com/office/drawing/2014/main" id="{2395FE78-3E35-0AD9-B8A7-000E4E913BD8}"/>
              </a:ext>
            </a:extLst>
          </p:cNvPr>
          <p:cNvSpPr/>
          <p:nvPr/>
        </p:nvSpPr>
        <p:spPr>
          <a:xfrm>
            <a:off x="8468025" y="4446197"/>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Hybrid User</a:t>
            </a:r>
          </a:p>
        </p:txBody>
      </p:sp>
      <p:sp>
        <p:nvSpPr>
          <p:cNvPr id="1097" name="Family_EBDA" title="Icon of a family of people">
            <a:extLst>
              <a:ext uri="{FF2B5EF4-FFF2-40B4-BE49-F238E27FC236}">
                <a16:creationId xmlns:a16="http://schemas.microsoft.com/office/drawing/2014/main" id="{50AF8F2D-9209-8E5A-1C77-25CB75F8D91B}"/>
              </a:ext>
            </a:extLst>
          </p:cNvPr>
          <p:cNvSpPr>
            <a:spLocks noChangeAspect="1" noEditPoints="1"/>
          </p:cNvSpPr>
          <p:nvPr/>
        </p:nvSpPr>
        <p:spPr bwMode="auto">
          <a:xfrm>
            <a:off x="11271477" y="2316259"/>
            <a:ext cx="310439" cy="28014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8" name="Straight Arrow Connector 1097">
            <a:extLst>
              <a:ext uri="{FF2B5EF4-FFF2-40B4-BE49-F238E27FC236}">
                <a16:creationId xmlns:a16="http://schemas.microsoft.com/office/drawing/2014/main" id="{25A956FC-661B-D18B-5E13-47A8B4D00B68}"/>
              </a:ext>
            </a:extLst>
          </p:cNvPr>
          <p:cNvCxnSpPr>
            <a:cxnSpLocks/>
          </p:cNvCxnSpPr>
          <p:nvPr/>
        </p:nvCxnSpPr>
        <p:spPr>
          <a:xfrm>
            <a:off x="11426696" y="2632021"/>
            <a:ext cx="0" cy="441703"/>
          </a:xfrm>
          <a:prstGeom prst="straightConnector1">
            <a:avLst/>
          </a:prstGeom>
          <a:ln w="1905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00" name="Title 10">
            <a:extLst>
              <a:ext uri="{FF2B5EF4-FFF2-40B4-BE49-F238E27FC236}">
                <a16:creationId xmlns:a16="http://schemas.microsoft.com/office/drawing/2014/main" id="{8C894238-83E5-180E-375D-4A6244CA4345}"/>
              </a:ext>
            </a:extLst>
          </p:cNvPr>
          <p:cNvSpPr txBox="1">
            <a:spLocks/>
          </p:cNvSpPr>
          <p:nvPr/>
        </p:nvSpPr>
        <p:spPr>
          <a:xfrm>
            <a:off x="468690" y="129181"/>
            <a:ext cx="11018520" cy="553998"/>
          </a:xfrm>
          <a:prstGeom prst="rect">
            <a:avLst/>
          </a:prstGeom>
        </p:spPr>
        <p:txBody>
          <a:bodyPr anchor="ctr" anchorCtr="0">
            <a:no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a:ea typeface="+mn-ea"/>
                <a:cs typeface="Segoe UI" pitchFamily="34" charset="0"/>
              </a:rPr>
              <a:t>Multiple HR Systems Scenario – Integration Architecture</a:t>
            </a:r>
          </a:p>
        </p:txBody>
      </p:sp>
      <p:sp>
        <p:nvSpPr>
          <p:cNvPr id="1102" name="TextBox 1101">
            <a:extLst>
              <a:ext uri="{FF2B5EF4-FFF2-40B4-BE49-F238E27FC236}">
                <a16:creationId xmlns:a16="http://schemas.microsoft.com/office/drawing/2014/main" id="{B7D6765D-95AB-75B7-04FB-2BFABCFF633E}"/>
              </a:ext>
            </a:extLst>
          </p:cNvPr>
          <p:cNvSpPr txBox="1"/>
          <p:nvPr/>
        </p:nvSpPr>
        <p:spPr>
          <a:xfrm>
            <a:off x="946594" y="822971"/>
            <a:ext cx="148938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HR team</a:t>
            </a:r>
          </a:p>
        </p:txBody>
      </p:sp>
      <p:sp>
        <p:nvSpPr>
          <p:cNvPr id="1103" name="TextBox 1102">
            <a:extLst>
              <a:ext uri="{FF2B5EF4-FFF2-40B4-BE49-F238E27FC236}">
                <a16:creationId xmlns:a16="http://schemas.microsoft.com/office/drawing/2014/main" id="{5B93BBB1-EEDC-33B8-76FA-D43D1A4715FC}"/>
              </a:ext>
            </a:extLst>
          </p:cNvPr>
          <p:cNvSpPr txBox="1"/>
          <p:nvPr/>
        </p:nvSpPr>
        <p:spPr>
          <a:xfrm>
            <a:off x="2986832" y="829271"/>
            <a:ext cx="245297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Data services team</a:t>
            </a:r>
          </a:p>
        </p:txBody>
      </p:sp>
      <p:sp>
        <p:nvSpPr>
          <p:cNvPr id="1104" name="TextBox 1103">
            <a:extLst>
              <a:ext uri="{FF2B5EF4-FFF2-40B4-BE49-F238E27FC236}">
                <a16:creationId xmlns:a16="http://schemas.microsoft.com/office/drawing/2014/main" id="{0AA44798-201E-3257-8A89-C61C8F0C6B50}"/>
              </a:ext>
            </a:extLst>
          </p:cNvPr>
          <p:cNvSpPr txBox="1"/>
          <p:nvPr/>
        </p:nvSpPr>
        <p:spPr>
          <a:xfrm>
            <a:off x="6125213" y="832633"/>
            <a:ext cx="200074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IAM/IGA team</a:t>
            </a:r>
          </a:p>
        </p:txBody>
      </p:sp>
      <p:sp>
        <p:nvSpPr>
          <p:cNvPr id="2" name="TextBox 1">
            <a:extLst>
              <a:ext uri="{FF2B5EF4-FFF2-40B4-BE49-F238E27FC236}">
                <a16:creationId xmlns:a16="http://schemas.microsoft.com/office/drawing/2014/main" id="{169E59B4-F172-06E4-533E-7D0EA1F8AC18}"/>
              </a:ext>
            </a:extLst>
          </p:cNvPr>
          <p:cNvSpPr txBox="1"/>
          <p:nvPr/>
        </p:nvSpPr>
        <p:spPr>
          <a:xfrm>
            <a:off x="10543943" y="2712682"/>
            <a:ext cx="839722" cy="48474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Govern apps that use AD groups</a:t>
            </a:r>
          </a:p>
        </p:txBody>
      </p:sp>
      <p:sp>
        <p:nvSpPr>
          <p:cNvPr id="8" name="Rectangle 7">
            <a:extLst>
              <a:ext uri="{FF2B5EF4-FFF2-40B4-BE49-F238E27FC236}">
                <a16:creationId xmlns:a16="http://schemas.microsoft.com/office/drawing/2014/main" id="{373A29D9-54EE-BCBD-AD7C-0A965E450828}"/>
              </a:ext>
            </a:extLst>
          </p:cNvPr>
          <p:cNvSpPr/>
          <p:nvPr/>
        </p:nvSpPr>
        <p:spPr>
          <a:xfrm rot="19840996">
            <a:off x="8708010" y="2764268"/>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Guest accounts</a:t>
            </a:r>
          </a:p>
        </p:txBody>
      </p:sp>
    </p:spTree>
    <p:extLst>
      <p:ext uri="{BB962C8B-B14F-4D97-AF65-F5344CB8AC3E}">
        <p14:creationId xmlns:p14="http://schemas.microsoft.com/office/powerpoint/2010/main" val="880538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02"/>
                                        </p:tgtEl>
                                        <p:attrNameLst>
                                          <p:attrName>style.visibility</p:attrName>
                                        </p:attrNameLst>
                                      </p:cBhvr>
                                      <p:to>
                                        <p:strVal val="visible"/>
                                      </p:to>
                                    </p:set>
                                    <p:animEffect transition="in" filter="fade">
                                      <p:cBhvr>
                                        <p:cTn id="18" dur="500"/>
                                        <p:tgtEl>
                                          <p:spTgt spid="110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03"/>
                                        </p:tgtEl>
                                        <p:attrNameLst>
                                          <p:attrName>style.visibility</p:attrName>
                                        </p:attrNameLst>
                                      </p:cBhvr>
                                      <p:to>
                                        <p:strVal val="visible"/>
                                      </p:to>
                                    </p:set>
                                    <p:animEffect transition="in" filter="fade">
                                      <p:cBhvr>
                                        <p:cTn id="21" dur="500"/>
                                        <p:tgtEl>
                                          <p:spTgt spid="110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04"/>
                                        </p:tgtEl>
                                        <p:attrNameLst>
                                          <p:attrName>style.visibility</p:attrName>
                                        </p:attrNameLst>
                                      </p:cBhvr>
                                      <p:to>
                                        <p:strVal val="visible"/>
                                      </p:to>
                                    </p:set>
                                    <p:animEffect transition="in" filter="fade">
                                      <p:cBhvr>
                                        <p:cTn id="24" dur="500"/>
                                        <p:tgtEl>
                                          <p:spTgt spid="110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29"/>
                                        </p:tgtEl>
                                        <p:attrNameLst>
                                          <p:attrName>style.visibility</p:attrName>
                                        </p:attrNameLst>
                                      </p:cBhvr>
                                      <p:to>
                                        <p:strVal val="visible"/>
                                      </p:to>
                                    </p:set>
                                    <p:animEffect transition="in" filter="fade">
                                      <p:cBhvr>
                                        <p:cTn id="29" dur="500"/>
                                        <p:tgtEl>
                                          <p:spTgt spid="10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500"/>
                                        <p:tgtEl>
                                          <p:spTgt spid="62"/>
                                        </p:tgtEl>
                                      </p:cBhvr>
                                    </p:animEffect>
                                  </p:childTnLst>
                                </p:cTn>
                              </p:par>
                              <p:par>
                                <p:cTn id="33" presetID="10" presetClass="entr" presetSubtype="0" fill="hold" nodeType="withEffect">
                                  <p:stCondLst>
                                    <p:cond delay="0"/>
                                  </p:stCondLst>
                                  <p:childTnLst>
                                    <p:set>
                                      <p:cBhvr>
                                        <p:cTn id="34" dur="1" fill="hold">
                                          <p:stCondLst>
                                            <p:cond delay="0"/>
                                          </p:stCondLst>
                                        </p:cTn>
                                        <p:tgtEl>
                                          <p:spTgt spid="1040"/>
                                        </p:tgtEl>
                                        <p:attrNameLst>
                                          <p:attrName>style.visibility</p:attrName>
                                        </p:attrNameLst>
                                      </p:cBhvr>
                                      <p:to>
                                        <p:strVal val="visible"/>
                                      </p:to>
                                    </p:set>
                                    <p:animEffect transition="in" filter="fade">
                                      <p:cBhvr>
                                        <p:cTn id="35" dur="500"/>
                                        <p:tgtEl>
                                          <p:spTgt spid="1040"/>
                                        </p:tgtEl>
                                      </p:cBhvr>
                                    </p:animEffect>
                                  </p:childTnLst>
                                </p:cTn>
                              </p:par>
                              <p:par>
                                <p:cTn id="36" presetID="10" presetClass="entr" presetSubtype="0" fill="hold" nodeType="withEffect">
                                  <p:stCondLst>
                                    <p:cond delay="0"/>
                                  </p:stCondLst>
                                  <p:childTnLst>
                                    <p:set>
                                      <p:cBhvr>
                                        <p:cTn id="37" dur="1" fill="hold">
                                          <p:stCondLst>
                                            <p:cond delay="0"/>
                                          </p:stCondLst>
                                        </p:cTn>
                                        <p:tgtEl>
                                          <p:spTgt spid="1037"/>
                                        </p:tgtEl>
                                        <p:attrNameLst>
                                          <p:attrName>style.visibility</p:attrName>
                                        </p:attrNameLst>
                                      </p:cBhvr>
                                      <p:to>
                                        <p:strVal val="visible"/>
                                      </p:to>
                                    </p:set>
                                    <p:animEffect transition="in" filter="fade">
                                      <p:cBhvr>
                                        <p:cTn id="38" dur="500"/>
                                        <p:tgtEl>
                                          <p:spTgt spid="10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10" presetClass="entr" presetSubtype="0" fill="hold" nodeType="withEffect">
                                  <p:stCondLst>
                                    <p:cond delay="0"/>
                                  </p:stCondLst>
                                  <p:childTnLst>
                                    <p:set>
                                      <p:cBhvr>
                                        <p:cTn id="43" dur="1" fill="hold">
                                          <p:stCondLst>
                                            <p:cond delay="0"/>
                                          </p:stCondLst>
                                        </p:cTn>
                                        <p:tgtEl>
                                          <p:spTgt spid="1055"/>
                                        </p:tgtEl>
                                        <p:attrNameLst>
                                          <p:attrName>style.visibility</p:attrName>
                                        </p:attrNameLst>
                                      </p:cBhvr>
                                      <p:to>
                                        <p:strVal val="visible"/>
                                      </p:to>
                                    </p:set>
                                    <p:animEffect transition="in" filter="fade">
                                      <p:cBhvr>
                                        <p:cTn id="44" dur="500"/>
                                        <p:tgtEl>
                                          <p:spTgt spid="105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60"/>
                                        </p:tgtEl>
                                        <p:attrNameLst>
                                          <p:attrName>style.visibility</p:attrName>
                                        </p:attrNameLst>
                                      </p:cBhvr>
                                      <p:to>
                                        <p:strVal val="visible"/>
                                      </p:to>
                                    </p:set>
                                    <p:animEffect transition="in" filter="fade">
                                      <p:cBhvr>
                                        <p:cTn id="47" dur="500"/>
                                        <p:tgtEl>
                                          <p:spTgt spid="1060"/>
                                        </p:tgtEl>
                                      </p:cBhvr>
                                    </p:animEffect>
                                  </p:childTnLst>
                                </p:cTn>
                              </p:par>
                              <p:par>
                                <p:cTn id="48" presetID="10" presetClass="entr" presetSubtype="0" fill="hold" nodeType="withEffect">
                                  <p:stCondLst>
                                    <p:cond delay="0"/>
                                  </p:stCondLst>
                                  <p:childTnLst>
                                    <p:set>
                                      <p:cBhvr>
                                        <p:cTn id="49" dur="1" fill="hold">
                                          <p:stCondLst>
                                            <p:cond delay="0"/>
                                          </p:stCondLst>
                                        </p:cTn>
                                        <p:tgtEl>
                                          <p:spTgt spid="1049"/>
                                        </p:tgtEl>
                                        <p:attrNameLst>
                                          <p:attrName>style.visibility</p:attrName>
                                        </p:attrNameLst>
                                      </p:cBhvr>
                                      <p:to>
                                        <p:strVal val="visible"/>
                                      </p:to>
                                    </p:set>
                                    <p:animEffect transition="in" filter="fade">
                                      <p:cBhvr>
                                        <p:cTn id="50" dur="500"/>
                                        <p:tgtEl>
                                          <p:spTgt spid="104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063"/>
                                        </p:tgtEl>
                                        <p:attrNameLst>
                                          <p:attrName>style.visibility</p:attrName>
                                        </p:attrNameLst>
                                      </p:cBhvr>
                                      <p:to>
                                        <p:strVal val="visible"/>
                                      </p:to>
                                    </p:set>
                                    <p:animEffect transition="in" filter="fade">
                                      <p:cBhvr>
                                        <p:cTn id="55" dur="500"/>
                                        <p:tgtEl>
                                          <p:spTgt spid="106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62"/>
                                        </p:tgtEl>
                                        <p:attrNameLst>
                                          <p:attrName>style.visibility</p:attrName>
                                        </p:attrNameLst>
                                      </p:cBhvr>
                                      <p:to>
                                        <p:strVal val="visible"/>
                                      </p:to>
                                    </p:set>
                                    <p:animEffect transition="in" filter="fade">
                                      <p:cBhvr>
                                        <p:cTn id="58" dur="500"/>
                                        <p:tgtEl>
                                          <p:spTgt spid="1062"/>
                                        </p:tgtEl>
                                      </p:cBhvr>
                                    </p:animEffect>
                                  </p:childTnLst>
                                </p:cTn>
                              </p:par>
                              <p:par>
                                <p:cTn id="59" presetID="10" presetClass="entr" presetSubtype="0" fill="hold" nodeType="withEffect">
                                  <p:stCondLst>
                                    <p:cond delay="0"/>
                                  </p:stCondLst>
                                  <p:childTnLst>
                                    <p:set>
                                      <p:cBhvr>
                                        <p:cTn id="60" dur="1" fill="hold">
                                          <p:stCondLst>
                                            <p:cond delay="0"/>
                                          </p:stCondLst>
                                        </p:cTn>
                                        <p:tgtEl>
                                          <p:spTgt spid="1068"/>
                                        </p:tgtEl>
                                        <p:attrNameLst>
                                          <p:attrName>style.visibility</p:attrName>
                                        </p:attrNameLst>
                                      </p:cBhvr>
                                      <p:to>
                                        <p:strVal val="visible"/>
                                      </p:to>
                                    </p:set>
                                    <p:animEffect transition="in" filter="fade">
                                      <p:cBhvr>
                                        <p:cTn id="61" dur="500"/>
                                        <p:tgtEl>
                                          <p:spTgt spid="106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nodeType="withEffect">
                                  <p:stCondLst>
                                    <p:cond delay="0"/>
                                  </p:stCondLst>
                                  <p:childTnLst>
                                    <p:set>
                                      <p:cBhvr>
                                        <p:cTn id="66" dur="1" fill="hold">
                                          <p:stCondLst>
                                            <p:cond delay="0"/>
                                          </p:stCondLst>
                                        </p:cTn>
                                        <p:tgtEl>
                                          <p:spTgt spid="1069"/>
                                        </p:tgtEl>
                                        <p:attrNameLst>
                                          <p:attrName>style.visibility</p:attrName>
                                        </p:attrNameLst>
                                      </p:cBhvr>
                                      <p:to>
                                        <p:strVal val="visible"/>
                                      </p:to>
                                    </p:set>
                                    <p:animEffect transition="in" filter="fade">
                                      <p:cBhvr>
                                        <p:cTn id="67" dur="500"/>
                                        <p:tgtEl>
                                          <p:spTgt spid="106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72"/>
                                        </p:tgtEl>
                                        <p:attrNameLst>
                                          <p:attrName>style.visibility</p:attrName>
                                        </p:attrNameLst>
                                      </p:cBhvr>
                                      <p:to>
                                        <p:strVal val="visible"/>
                                      </p:to>
                                    </p:set>
                                    <p:animEffect transition="in" filter="fade">
                                      <p:cBhvr>
                                        <p:cTn id="70" dur="500"/>
                                        <p:tgtEl>
                                          <p:spTgt spid="1072"/>
                                        </p:tgtEl>
                                      </p:cBhvr>
                                    </p:animEffect>
                                  </p:childTnLst>
                                </p:cTn>
                              </p:par>
                              <p:par>
                                <p:cTn id="71" presetID="10" presetClass="entr" presetSubtype="0" fill="hold" nodeType="withEffect">
                                  <p:stCondLst>
                                    <p:cond delay="0"/>
                                  </p:stCondLst>
                                  <p:childTnLst>
                                    <p:set>
                                      <p:cBhvr>
                                        <p:cTn id="72" dur="1" fill="hold">
                                          <p:stCondLst>
                                            <p:cond delay="0"/>
                                          </p:stCondLst>
                                        </p:cTn>
                                        <p:tgtEl>
                                          <p:spTgt spid="1074"/>
                                        </p:tgtEl>
                                        <p:attrNameLst>
                                          <p:attrName>style.visibility</p:attrName>
                                        </p:attrNameLst>
                                      </p:cBhvr>
                                      <p:to>
                                        <p:strVal val="visible"/>
                                      </p:to>
                                    </p:set>
                                    <p:animEffect transition="in" filter="fade">
                                      <p:cBhvr>
                                        <p:cTn id="73" dur="500"/>
                                        <p:tgtEl>
                                          <p:spTgt spid="1074"/>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079"/>
                                        </p:tgtEl>
                                        <p:attrNameLst>
                                          <p:attrName>style.visibility</p:attrName>
                                        </p:attrNameLst>
                                      </p:cBhvr>
                                      <p:to>
                                        <p:strVal val="visible"/>
                                      </p:to>
                                    </p:set>
                                    <p:animEffect transition="in" filter="fade">
                                      <p:cBhvr>
                                        <p:cTn id="78" dur="500"/>
                                        <p:tgtEl>
                                          <p:spTgt spid="107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077"/>
                                        </p:tgtEl>
                                        <p:attrNameLst>
                                          <p:attrName>style.visibility</p:attrName>
                                        </p:attrNameLst>
                                      </p:cBhvr>
                                      <p:to>
                                        <p:strVal val="visible"/>
                                      </p:to>
                                    </p:set>
                                    <p:animEffect transition="in" filter="fade">
                                      <p:cBhvr>
                                        <p:cTn id="81" dur="500"/>
                                        <p:tgtEl>
                                          <p:spTgt spid="1077"/>
                                        </p:tgtEl>
                                      </p:cBhvr>
                                    </p:animEffect>
                                  </p:childTnLst>
                                </p:cTn>
                              </p:par>
                              <p:par>
                                <p:cTn id="82" presetID="10" presetClass="entr" presetSubtype="0" fill="hold" nodeType="withEffect">
                                  <p:stCondLst>
                                    <p:cond delay="0"/>
                                  </p:stCondLst>
                                  <p:childTnLst>
                                    <p:set>
                                      <p:cBhvr>
                                        <p:cTn id="83" dur="1" fill="hold">
                                          <p:stCondLst>
                                            <p:cond delay="0"/>
                                          </p:stCondLst>
                                        </p:cTn>
                                        <p:tgtEl>
                                          <p:spTgt spid="1080"/>
                                        </p:tgtEl>
                                        <p:attrNameLst>
                                          <p:attrName>style.visibility</p:attrName>
                                        </p:attrNameLst>
                                      </p:cBhvr>
                                      <p:to>
                                        <p:strVal val="visible"/>
                                      </p:to>
                                    </p:set>
                                    <p:animEffect transition="in" filter="fade">
                                      <p:cBhvr>
                                        <p:cTn id="84" dur="500"/>
                                        <p:tgtEl>
                                          <p:spTgt spid="1080"/>
                                        </p:tgtEl>
                                      </p:cBhvr>
                                    </p:animEffect>
                                  </p:childTnLst>
                                </p:cTn>
                              </p:par>
                              <p:par>
                                <p:cTn id="85" presetID="10" presetClass="entr" presetSubtype="0" fill="hold" nodeType="withEffect">
                                  <p:stCondLst>
                                    <p:cond delay="0"/>
                                  </p:stCondLst>
                                  <p:childTnLst>
                                    <p:set>
                                      <p:cBhvr>
                                        <p:cTn id="86" dur="1" fill="hold">
                                          <p:stCondLst>
                                            <p:cond delay="0"/>
                                          </p:stCondLst>
                                        </p:cTn>
                                        <p:tgtEl>
                                          <p:spTgt spid="1081"/>
                                        </p:tgtEl>
                                        <p:attrNameLst>
                                          <p:attrName>style.visibility</p:attrName>
                                        </p:attrNameLst>
                                      </p:cBhvr>
                                      <p:to>
                                        <p:strVal val="visible"/>
                                      </p:to>
                                    </p:set>
                                    <p:animEffect transition="in" filter="fade">
                                      <p:cBhvr>
                                        <p:cTn id="87" dur="500"/>
                                        <p:tgtEl>
                                          <p:spTgt spid="108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78"/>
                                        </p:tgtEl>
                                        <p:attrNameLst>
                                          <p:attrName>style.visibility</p:attrName>
                                        </p:attrNameLst>
                                      </p:cBhvr>
                                      <p:to>
                                        <p:strVal val="visible"/>
                                      </p:to>
                                    </p:set>
                                    <p:animEffect transition="in" filter="fade">
                                      <p:cBhvr>
                                        <p:cTn id="90" dur="500"/>
                                        <p:tgtEl>
                                          <p:spTgt spid="107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096"/>
                                        </p:tgtEl>
                                        <p:attrNameLst>
                                          <p:attrName>style.visibility</p:attrName>
                                        </p:attrNameLst>
                                      </p:cBhvr>
                                      <p:to>
                                        <p:strVal val="visible"/>
                                      </p:to>
                                    </p:set>
                                    <p:animEffect transition="in" filter="fade">
                                      <p:cBhvr>
                                        <p:cTn id="93" dur="500"/>
                                        <p:tgtEl>
                                          <p:spTgt spid="1096"/>
                                        </p:tgtEl>
                                      </p:cBhvr>
                                    </p:animEffect>
                                  </p:childTnLst>
                                </p:cTn>
                              </p:par>
                              <p:par>
                                <p:cTn id="94" presetID="10" presetClass="entr" presetSubtype="0" fill="hold" nodeType="withEffect">
                                  <p:stCondLst>
                                    <p:cond delay="0"/>
                                  </p:stCondLst>
                                  <p:childTnLst>
                                    <p:set>
                                      <p:cBhvr>
                                        <p:cTn id="95" dur="1" fill="hold">
                                          <p:stCondLst>
                                            <p:cond delay="0"/>
                                          </p:stCondLst>
                                        </p:cTn>
                                        <p:tgtEl>
                                          <p:spTgt spid="1091"/>
                                        </p:tgtEl>
                                        <p:attrNameLst>
                                          <p:attrName>style.visibility</p:attrName>
                                        </p:attrNameLst>
                                      </p:cBhvr>
                                      <p:to>
                                        <p:strVal val="visible"/>
                                      </p:to>
                                    </p:set>
                                    <p:animEffect transition="in" filter="fade">
                                      <p:cBhvr>
                                        <p:cTn id="96" dur="500"/>
                                        <p:tgtEl>
                                          <p:spTgt spid="1091"/>
                                        </p:tgtEl>
                                      </p:cBhvr>
                                    </p:animEffect>
                                  </p:childTnLst>
                                </p:cTn>
                              </p:par>
                              <p:par>
                                <p:cTn id="97" presetID="10" presetClass="entr" presetSubtype="0" fill="hold" nodeType="withEffect">
                                  <p:stCondLst>
                                    <p:cond delay="0"/>
                                  </p:stCondLst>
                                  <p:childTnLst>
                                    <p:set>
                                      <p:cBhvr>
                                        <p:cTn id="98" dur="1" fill="hold">
                                          <p:stCondLst>
                                            <p:cond delay="0"/>
                                          </p:stCondLst>
                                        </p:cTn>
                                        <p:tgtEl>
                                          <p:spTgt spid="1033"/>
                                        </p:tgtEl>
                                        <p:attrNameLst>
                                          <p:attrName>style.visibility</p:attrName>
                                        </p:attrNameLst>
                                      </p:cBhvr>
                                      <p:to>
                                        <p:strVal val="visible"/>
                                      </p:to>
                                    </p:set>
                                    <p:animEffect transition="in" filter="fade">
                                      <p:cBhvr>
                                        <p:cTn id="99" dur="500"/>
                                        <p:tgtEl>
                                          <p:spTgt spid="10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4"/>
                                        </p:tgtEl>
                                        <p:attrNameLst>
                                          <p:attrName>style.visibility</p:attrName>
                                        </p:attrNameLst>
                                      </p:cBhvr>
                                      <p:to>
                                        <p:strVal val="visible"/>
                                      </p:to>
                                    </p:set>
                                    <p:animEffect transition="in" filter="fade">
                                      <p:cBhvr>
                                        <p:cTn id="10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9" grpId="0" animBg="1"/>
      <p:bldP spid="30" grpId="0" animBg="1"/>
      <p:bldP spid="31" grpId="0" animBg="1"/>
      <p:bldP spid="62" grpId="0" animBg="1"/>
      <p:bldP spid="1060" grpId="0"/>
      <p:bldP spid="1062" grpId="0" animBg="1"/>
      <p:bldP spid="1072" grpId="0" animBg="1"/>
      <p:bldP spid="1077" grpId="0" animBg="1"/>
      <p:bldP spid="1078" grpId="0" animBg="1"/>
      <p:bldP spid="1096" grpId="0"/>
      <p:bldP spid="1102" grpId="0"/>
      <p:bldP spid="1103" grpId="0"/>
      <p:bldP spid="1104"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251D8-7CD2-D2DF-A0A7-C16621970D81}"/>
              </a:ext>
            </a:extLst>
          </p:cNvPr>
          <p:cNvSpPr>
            <a:spLocks noGrp="1"/>
          </p:cNvSpPr>
          <p:nvPr>
            <p:ph type="title"/>
          </p:nvPr>
        </p:nvSpPr>
        <p:spPr>
          <a:xfrm>
            <a:off x="588263" y="457200"/>
            <a:ext cx="4338413" cy="923330"/>
          </a:xfrm>
        </p:spPr>
        <p:txBody>
          <a:bodyPr/>
          <a:lstStyle/>
          <a:p>
            <a:r>
              <a:rPr lang="en-US"/>
              <a:t>Lifecycle Workflows</a:t>
            </a:r>
            <a:br>
              <a:rPr lang="en-US"/>
            </a:br>
            <a:r>
              <a:rPr lang="en-US" sz="2400"/>
              <a:t>General Availability</a:t>
            </a:r>
            <a:endParaRPr lang="en-US"/>
          </a:p>
        </p:txBody>
      </p:sp>
      <p:sp>
        <p:nvSpPr>
          <p:cNvPr id="3" name="Freeform 2">
            <a:extLst>
              <a:ext uri="{FF2B5EF4-FFF2-40B4-BE49-F238E27FC236}">
                <a16:creationId xmlns:a16="http://schemas.microsoft.com/office/drawing/2014/main" id="{0FF9EF5A-4DAF-F152-9B45-1AFEA3EB688E}"/>
              </a:ext>
            </a:extLst>
          </p:cNvPr>
          <p:cNvSpPr/>
          <p:nvPr/>
        </p:nvSpPr>
        <p:spPr bwMode="auto">
          <a:xfrm>
            <a:off x="5163518" y="-1"/>
            <a:ext cx="7028482" cy="6858000"/>
          </a:xfrm>
          <a:custGeom>
            <a:avLst/>
            <a:gdLst>
              <a:gd name="connsiteX0" fmla="*/ 7028482 w 7028482"/>
              <a:gd name="connsiteY0" fmla="*/ 0 h 6858000"/>
              <a:gd name="connsiteX1" fmla="*/ 7028482 w 7028482"/>
              <a:gd name="connsiteY1" fmla="*/ 1 h 6858000"/>
              <a:gd name="connsiteX2" fmla="*/ 7028482 w 7028482"/>
              <a:gd name="connsiteY2" fmla="*/ 1529383 h 6858000"/>
              <a:gd name="connsiteX3" fmla="*/ 7028482 w 7028482"/>
              <a:gd name="connsiteY3" fmla="*/ 2476871 h 6858000"/>
              <a:gd name="connsiteX4" fmla="*/ 7028482 w 7028482"/>
              <a:gd name="connsiteY4" fmla="*/ 5328617 h 6858000"/>
              <a:gd name="connsiteX5" fmla="*/ 7028482 w 7028482"/>
              <a:gd name="connsiteY5" fmla="*/ 6858000 h 6858000"/>
              <a:gd name="connsiteX6" fmla="*/ 5876815 w 7028482"/>
              <a:gd name="connsiteY6" fmla="*/ 6858000 h 6858000"/>
              <a:gd name="connsiteX7" fmla="*/ 2835752 w 7028482"/>
              <a:gd name="connsiteY7" fmla="*/ 6858000 h 6858000"/>
              <a:gd name="connsiteX8" fmla="*/ 1143023 w 7028482"/>
              <a:gd name="connsiteY8" fmla="*/ 6858000 h 6858000"/>
              <a:gd name="connsiteX9" fmla="*/ 0 w 7028482"/>
              <a:gd name="connsiteY9" fmla="*/ 5714977 h 6858000"/>
              <a:gd name="connsiteX10" fmla="*/ 0 w 7028482"/>
              <a:gd name="connsiteY10" fmla="*/ 2476871 h 6858000"/>
              <a:gd name="connsiteX11" fmla="*/ 0 w 7028482"/>
              <a:gd name="connsiteY11" fmla="*/ 1143023 h 6858000"/>
              <a:gd name="connsiteX12" fmla="*/ 0 w 7028482"/>
              <a:gd name="connsiteY12" fmla="*/ 1 h 6858000"/>
              <a:gd name="connsiteX13" fmla="*/ 7028462 w 7028482"/>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8482" h="6858000">
                <a:moveTo>
                  <a:pt x="7028482" y="0"/>
                </a:moveTo>
                <a:lnTo>
                  <a:pt x="7028482" y="1"/>
                </a:lnTo>
                <a:lnTo>
                  <a:pt x="7028482" y="1529383"/>
                </a:lnTo>
                <a:lnTo>
                  <a:pt x="7028482" y="2476871"/>
                </a:lnTo>
                <a:lnTo>
                  <a:pt x="7028482" y="5328617"/>
                </a:lnTo>
                <a:lnTo>
                  <a:pt x="7028482" y="6858000"/>
                </a:lnTo>
                <a:lnTo>
                  <a:pt x="5876815" y="6858000"/>
                </a:lnTo>
                <a:lnTo>
                  <a:pt x="2835752" y="6858000"/>
                </a:lnTo>
                <a:lnTo>
                  <a:pt x="1143023" y="6858000"/>
                </a:lnTo>
                <a:cubicBezTo>
                  <a:pt x="511749" y="6858000"/>
                  <a:pt x="0" y="6346251"/>
                  <a:pt x="0" y="5714977"/>
                </a:cubicBezTo>
                <a:lnTo>
                  <a:pt x="0" y="2476871"/>
                </a:lnTo>
                <a:lnTo>
                  <a:pt x="0" y="1143023"/>
                </a:lnTo>
                <a:lnTo>
                  <a:pt x="0" y="1"/>
                </a:lnTo>
                <a:lnTo>
                  <a:pt x="7028462" y="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2" name="Text Placeholder 2">
            <a:extLst>
              <a:ext uri="{FF2B5EF4-FFF2-40B4-BE49-F238E27FC236}">
                <a16:creationId xmlns:a16="http://schemas.microsoft.com/office/drawing/2014/main" id="{DFE0F2DB-1F97-13CC-5C85-51665A995C02}"/>
              </a:ext>
            </a:extLst>
          </p:cNvPr>
          <p:cNvSpPr txBox="1">
            <a:spLocks/>
          </p:cNvSpPr>
          <p:nvPr/>
        </p:nvSpPr>
        <p:spPr>
          <a:xfrm>
            <a:off x="588263" y="1941114"/>
            <a:ext cx="3886200" cy="38933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t>Automate join/move/leave </a:t>
            </a:r>
            <a:b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br>
            <a: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t>employee lifecycle events</a:t>
            </a:r>
            <a:endParaRPr kumimoji="0" lang="en-US" sz="1800" b="0" i="0" u="none" strike="noStrike" kern="1200" cap="none" spc="-50" normalizeH="0" baseline="0" noProof="0">
              <a:ln>
                <a:noFill/>
              </a:ln>
              <a:solidFill>
                <a:srgbClr val="0078D4"/>
              </a:solidFill>
              <a:effectLst/>
              <a:uLnTx/>
              <a:uFillTx/>
              <a:latin typeface="Segoe UI"/>
              <a:ea typeface="+mn-ea"/>
              <a:cs typeface="Segoe UI" panose="020B0502040204020203" pitchFamily="34" charset="0"/>
            </a:endParaRP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Organizations can schedule tasks to occur before, at or after a join or leave date; these can also be run on-demand.</a:t>
            </a: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Built-in tasks include generating temporary credentials, sending emails, updating user attributes, and memberships, and removing licenses.</a:t>
            </a: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Customers and partners can extend lifecycle workflows with additional tasks via Azure Logic Apps.</a:t>
            </a:r>
          </a:p>
        </p:txBody>
      </p:sp>
      <p:sp>
        <p:nvSpPr>
          <p:cNvPr id="107" name="Rectangle: Rounded Corners 106">
            <a:extLst>
              <a:ext uri="{FF2B5EF4-FFF2-40B4-BE49-F238E27FC236}">
                <a16:creationId xmlns:a16="http://schemas.microsoft.com/office/drawing/2014/main" id="{0DB9BFB1-0EB0-4227-A409-266B063B59F0}"/>
              </a:ext>
            </a:extLst>
          </p:cNvPr>
          <p:cNvSpPr/>
          <p:nvPr/>
        </p:nvSpPr>
        <p:spPr bwMode="auto">
          <a:xfrm rot="5400000">
            <a:off x="8017047" y="3909815"/>
            <a:ext cx="1238015"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362CCAA0-592C-6D44-A520-12740C52B7B5}"/>
              </a:ext>
            </a:extLst>
          </p:cNvPr>
          <p:cNvSpPr/>
          <p:nvPr/>
        </p:nvSpPr>
        <p:spPr bwMode="auto">
          <a:xfrm rot="2196407">
            <a:off x="9113625" y="4378486"/>
            <a:ext cx="2115492"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9" name="Rectangle: Rounded Corners 108">
            <a:extLst>
              <a:ext uri="{FF2B5EF4-FFF2-40B4-BE49-F238E27FC236}">
                <a16:creationId xmlns:a16="http://schemas.microsoft.com/office/drawing/2014/main" id="{00D8939A-96F0-E0C1-CB70-8C9495351A3E}"/>
              </a:ext>
            </a:extLst>
          </p:cNvPr>
          <p:cNvSpPr/>
          <p:nvPr/>
        </p:nvSpPr>
        <p:spPr bwMode="auto">
          <a:xfrm>
            <a:off x="5832856" y="3616325"/>
            <a:ext cx="6111128"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ECCBF2F2-8D9C-975A-B6AD-96BE49F4562B}"/>
              </a:ext>
            </a:extLst>
          </p:cNvPr>
          <p:cNvGrpSpPr/>
          <p:nvPr/>
        </p:nvGrpSpPr>
        <p:grpSpPr>
          <a:xfrm>
            <a:off x="7765734" y="3179843"/>
            <a:ext cx="1800154" cy="914400"/>
            <a:chOff x="5174913" y="1019190"/>
            <a:chExt cx="1800154" cy="914400"/>
          </a:xfrm>
        </p:grpSpPr>
        <p:sp>
          <p:nvSpPr>
            <p:cNvPr id="111" name="Freeform: Shape 110">
              <a:extLst>
                <a:ext uri="{FF2B5EF4-FFF2-40B4-BE49-F238E27FC236}">
                  <a16:creationId xmlns:a16="http://schemas.microsoft.com/office/drawing/2014/main" id="{CE541681-A83E-D8DE-C6F3-5AC481B94B7A}"/>
                </a:ext>
              </a:extLst>
            </p:cNvPr>
            <p:cNvSpPr>
              <a:spLocks noChangeAspect="1"/>
            </p:cNvSpPr>
            <p:nvPr/>
          </p:nvSpPr>
          <p:spPr bwMode="auto">
            <a:xfrm>
              <a:off x="5174913" y="1019190"/>
              <a:ext cx="1800154" cy="91440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2700" cap="flat" cmpd="sng" algn="ctr">
              <a:solidFill>
                <a:srgbClr val="0078D4"/>
              </a:solid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TextBox 120">
              <a:extLst>
                <a:ext uri="{FF2B5EF4-FFF2-40B4-BE49-F238E27FC236}">
                  <a16:creationId xmlns:a16="http://schemas.microsoft.com/office/drawing/2014/main" id="{62125062-45E8-45EA-E59D-23955929F30E}"/>
                </a:ext>
              </a:extLst>
            </p:cNvPr>
            <p:cNvSpPr txBox="1"/>
            <p:nvPr/>
          </p:nvSpPr>
          <p:spPr>
            <a:xfrm>
              <a:off x="5498697" y="1426452"/>
              <a:ext cx="1365530"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err="1">
                  <a:ln>
                    <a:noFill/>
                  </a:ln>
                  <a:solidFill>
                    <a:srgbClr val="000000"/>
                  </a:solidFill>
                  <a:effectLst/>
                  <a:uLnTx/>
                  <a:uFillTx/>
                  <a:latin typeface="Segoe UI Semibold"/>
                  <a:ea typeface="+mn-ea"/>
                  <a:cs typeface="+mn-cs"/>
                </a:rPr>
                <a:t>Entra</a:t>
              </a:r>
              <a:r>
                <a:rPr kumimoji="0" lang="en-US" sz="1400" b="0" i="0" u="none" strike="noStrike" kern="0" cap="none" spc="-50" normalizeH="0" baseline="0" noProof="0">
                  <a:ln>
                    <a:noFill/>
                  </a:ln>
                  <a:solidFill>
                    <a:srgbClr val="000000"/>
                  </a:solidFill>
                  <a:effectLst/>
                  <a:uLnTx/>
                  <a:uFillTx/>
                  <a:latin typeface="Segoe UI Semibold"/>
                  <a:ea typeface="+mn-ea"/>
                  <a:cs typeface="+mn-cs"/>
                </a:rPr>
                <a:t> ID</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grpSp>
      <p:grpSp>
        <p:nvGrpSpPr>
          <p:cNvPr id="122" name="Group 121">
            <a:extLst>
              <a:ext uri="{FF2B5EF4-FFF2-40B4-BE49-F238E27FC236}">
                <a16:creationId xmlns:a16="http://schemas.microsoft.com/office/drawing/2014/main" id="{3214EC53-34DA-72A9-4E11-CBA1F8B19F31}"/>
              </a:ext>
            </a:extLst>
          </p:cNvPr>
          <p:cNvGrpSpPr>
            <a:grpSpLocks noChangeAspect="1"/>
          </p:cNvGrpSpPr>
          <p:nvPr/>
        </p:nvGrpSpPr>
        <p:grpSpPr>
          <a:xfrm>
            <a:off x="8342920" y="4573754"/>
            <a:ext cx="1272932" cy="1143000"/>
            <a:chOff x="6197795" y="5009164"/>
            <a:chExt cx="1209942" cy="1086440"/>
          </a:xfrm>
        </p:grpSpPr>
        <p:grpSp>
          <p:nvGrpSpPr>
            <p:cNvPr id="123" name="Group 122">
              <a:extLst>
                <a:ext uri="{FF2B5EF4-FFF2-40B4-BE49-F238E27FC236}">
                  <a16:creationId xmlns:a16="http://schemas.microsoft.com/office/drawing/2014/main" id="{0261FBA7-F29A-9454-466E-B6BEC5F3B5EB}"/>
                </a:ext>
              </a:extLst>
            </p:cNvPr>
            <p:cNvGrpSpPr/>
            <p:nvPr/>
          </p:nvGrpSpPr>
          <p:grpSpPr>
            <a:xfrm>
              <a:off x="6197795" y="5009164"/>
              <a:ext cx="616635" cy="1026202"/>
              <a:chOff x="6197795" y="5009164"/>
              <a:chExt cx="616635" cy="1026202"/>
            </a:xfrm>
          </p:grpSpPr>
          <p:grpSp>
            <p:nvGrpSpPr>
              <p:cNvPr id="125" name="Picture 88">
                <a:extLst>
                  <a:ext uri="{FF2B5EF4-FFF2-40B4-BE49-F238E27FC236}">
                    <a16:creationId xmlns:a16="http://schemas.microsoft.com/office/drawing/2014/main" id="{4A1E12C9-ECF9-FFBD-FAB1-53041A9300A2}"/>
                  </a:ext>
                </a:extLst>
              </p:cNvPr>
              <p:cNvGrpSpPr/>
              <p:nvPr/>
            </p:nvGrpSpPr>
            <p:grpSpPr>
              <a:xfrm>
                <a:off x="6197795" y="5009164"/>
                <a:ext cx="616635" cy="1026202"/>
                <a:chOff x="6197795" y="5009164"/>
                <a:chExt cx="616635" cy="1026202"/>
              </a:xfrm>
            </p:grpSpPr>
            <p:sp>
              <p:nvSpPr>
                <p:cNvPr id="133" name="Freeform: Shape 132">
                  <a:extLst>
                    <a:ext uri="{FF2B5EF4-FFF2-40B4-BE49-F238E27FC236}">
                      <a16:creationId xmlns:a16="http://schemas.microsoft.com/office/drawing/2014/main" id="{83EA0626-3760-45BB-8D8A-14DDCCE13D88}"/>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99A01F68-8E6C-A4A7-B85D-4251195763F2}"/>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95F355C6-6D9D-997D-0B3A-430AD6BF5FC1}"/>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54D1DB03-0AB9-229F-8192-786A6C66288A}"/>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126" name="Rectangle 125">
                <a:extLst>
                  <a:ext uri="{FF2B5EF4-FFF2-40B4-BE49-F238E27FC236}">
                    <a16:creationId xmlns:a16="http://schemas.microsoft.com/office/drawing/2014/main" id="{B3E1B1CD-7588-D5B1-EE14-C779101E1AE6}"/>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B0E7CCB9-AE4D-B484-7ED8-2EED54661627}"/>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48209B4F-41A1-CC03-225B-5D37D4CFD40F}"/>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6CC509F2-7E8B-16E0-3412-3FE93CBDD83F}"/>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A3FB3CE5-137B-A3AA-B101-3A2E16EE9426}"/>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81ABED54-A5A9-815D-3E3B-170C886B8C2A}"/>
                  </a:ext>
                </a:extLst>
              </p:cNvPr>
              <p:cNvSpPr/>
              <p:nvPr/>
            </p:nvSpPr>
            <p:spPr bwMode="auto">
              <a:xfrm>
                <a:off x="6356703" y="5776119"/>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BBAC783B-8510-E168-1E21-36BC66AE1F92}"/>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24" name="Picture 123">
              <a:extLst>
                <a:ext uri="{FF2B5EF4-FFF2-40B4-BE49-F238E27FC236}">
                  <a16:creationId xmlns:a16="http://schemas.microsoft.com/office/drawing/2014/main" id="{C0C991E3-9333-8CA4-C051-3E80776429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2649" y="5585999"/>
              <a:ext cx="795088" cy="509605"/>
            </a:xfrm>
            <a:prstGeom prst="rect">
              <a:avLst/>
            </a:prstGeom>
          </p:spPr>
        </p:pic>
      </p:grpSp>
      <p:sp>
        <p:nvSpPr>
          <p:cNvPr id="137" name="TextBox 136">
            <a:extLst>
              <a:ext uri="{FF2B5EF4-FFF2-40B4-BE49-F238E27FC236}">
                <a16:creationId xmlns:a16="http://schemas.microsoft.com/office/drawing/2014/main" id="{0F848D06-7944-48B7-23F3-672EF205D5C5}"/>
              </a:ext>
            </a:extLst>
          </p:cNvPr>
          <p:cNvSpPr txBox="1"/>
          <p:nvPr/>
        </p:nvSpPr>
        <p:spPr>
          <a:xfrm>
            <a:off x="8384532" y="5793115"/>
            <a:ext cx="1272931"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grpSp>
        <p:nvGrpSpPr>
          <p:cNvPr id="138" name="Group 137">
            <a:extLst>
              <a:ext uri="{FF2B5EF4-FFF2-40B4-BE49-F238E27FC236}">
                <a16:creationId xmlns:a16="http://schemas.microsoft.com/office/drawing/2014/main" id="{086A21A5-EE74-BD1F-5DF8-BF2DD9FB670E}"/>
              </a:ext>
            </a:extLst>
          </p:cNvPr>
          <p:cNvGrpSpPr/>
          <p:nvPr/>
        </p:nvGrpSpPr>
        <p:grpSpPr>
          <a:xfrm>
            <a:off x="6255304" y="573063"/>
            <a:ext cx="1856652" cy="292418"/>
            <a:chOff x="1114477" y="4819773"/>
            <a:chExt cx="2322328" cy="365760"/>
          </a:xfrm>
        </p:grpSpPr>
        <p:grpSp>
          <p:nvGrpSpPr>
            <p:cNvPr id="139" name="Group 138">
              <a:extLst>
                <a:ext uri="{FF2B5EF4-FFF2-40B4-BE49-F238E27FC236}">
                  <a16:creationId xmlns:a16="http://schemas.microsoft.com/office/drawing/2014/main" id="{C07A3F25-E299-1221-B1F0-618D3FBC7FBD}"/>
                </a:ext>
              </a:extLst>
            </p:cNvPr>
            <p:cNvGrpSpPr/>
            <p:nvPr/>
          </p:nvGrpSpPr>
          <p:grpSpPr>
            <a:xfrm>
              <a:off x="1114477" y="4842633"/>
              <a:ext cx="2112911" cy="320040"/>
              <a:chOff x="1114477" y="4843791"/>
              <a:chExt cx="2112911" cy="320040"/>
            </a:xfrm>
          </p:grpSpPr>
          <p:sp>
            <p:nvSpPr>
              <p:cNvPr id="142" name="Rectangle: Rounded Corners 141">
                <a:extLst>
                  <a:ext uri="{FF2B5EF4-FFF2-40B4-BE49-F238E27FC236}">
                    <a16:creationId xmlns:a16="http://schemas.microsoft.com/office/drawing/2014/main" id="{DA48472E-325C-29B2-5B1A-48EA509443FE}"/>
                  </a:ext>
                </a:extLst>
              </p:cNvPr>
              <p:cNvSpPr/>
              <p:nvPr/>
            </p:nvSpPr>
            <p:spPr bwMode="auto">
              <a:xfrm>
                <a:off x="1114477" y="4843791"/>
                <a:ext cx="2112911" cy="32004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r"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3" name="TextBox 142">
                <a:extLst>
                  <a:ext uri="{FF2B5EF4-FFF2-40B4-BE49-F238E27FC236}">
                    <a16:creationId xmlns:a16="http://schemas.microsoft.com/office/drawing/2014/main" id="{136C03DA-86E4-254B-02BF-A94E77BE294B}"/>
                  </a:ext>
                </a:extLst>
              </p:cNvPr>
              <p:cNvSpPr txBox="1"/>
              <p:nvPr/>
            </p:nvSpPr>
            <p:spPr>
              <a:xfrm>
                <a:off x="1114477" y="4913784"/>
                <a:ext cx="190162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r"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FFFFFF"/>
                    </a:solidFill>
                    <a:effectLst/>
                    <a:uLnTx/>
                    <a:uFillTx/>
                    <a:latin typeface="Segoe UI Semibold"/>
                    <a:ea typeface="+mn-ea"/>
                    <a:cs typeface="Segoe UI Semilight" panose="020B0402040204020203" pitchFamily="34" charset="0"/>
                  </a:rPr>
                  <a:t>Launch pre-hire workflow</a:t>
                </a:r>
              </a:p>
            </p:txBody>
          </p:sp>
        </p:grpSp>
        <p:sp>
          <p:nvSpPr>
            <p:cNvPr id="140" name="Oval 139">
              <a:extLst>
                <a:ext uri="{FF2B5EF4-FFF2-40B4-BE49-F238E27FC236}">
                  <a16:creationId xmlns:a16="http://schemas.microsoft.com/office/drawing/2014/main" id="{BB09C7F1-3568-1FC0-F3E1-0679F26274B1}"/>
                </a:ext>
              </a:extLst>
            </p:cNvPr>
            <p:cNvSpPr/>
            <p:nvPr/>
          </p:nvSpPr>
          <p:spPr bwMode="auto">
            <a:xfrm>
              <a:off x="3071045" y="4819773"/>
              <a:ext cx="365760" cy="365760"/>
            </a:xfrm>
            <a:prstGeom prst="ellipse">
              <a:avLst/>
            </a:prstGeom>
            <a:solidFill>
              <a:srgbClr val="FFFFFF"/>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41" name="Graphic 140">
              <a:extLst>
                <a:ext uri="{FF2B5EF4-FFF2-40B4-BE49-F238E27FC236}">
                  <a16:creationId xmlns:a16="http://schemas.microsoft.com/office/drawing/2014/main" id="{3DF94AD6-8AFB-C4B9-79C9-51DAB04498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39625" y="4888353"/>
              <a:ext cx="228600" cy="228600"/>
            </a:xfrm>
            <a:prstGeom prst="rect">
              <a:avLst/>
            </a:prstGeom>
          </p:spPr>
        </p:pic>
      </p:grpSp>
      <p:sp>
        <p:nvSpPr>
          <p:cNvPr id="144" name="Arrow: Up 143">
            <a:extLst>
              <a:ext uri="{FF2B5EF4-FFF2-40B4-BE49-F238E27FC236}">
                <a16:creationId xmlns:a16="http://schemas.microsoft.com/office/drawing/2014/main" id="{74AE68B5-82FA-8CF2-AE9F-96553D6EBB2D}"/>
              </a:ext>
            </a:extLst>
          </p:cNvPr>
          <p:cNvSpPr/>
          <p:nvPr/>
        </p:nvSpPr>
        <p:spPr bwMode="auto">
          <a:xfrm>
            <a:off x="7889628" y="897858"/>
            <a:ext cx="153347" cy="183320"/>
          </a:xfrm>
          <a:prstGeom prst="upArrow">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45" name="Group 144">
            <a:extLst>
              <a:ext uri="{FF2B5EF4-FFF2-40B4-BE49-F238E27FC236}">
                <a16:creationId xmlns:a16="http://schemas.microsoft.com/office/drawing/2014/main" id="{B3BE9CF6-460F-DBF7-CB75-E9B70D294721}"/>
              </a:ext>
            </a:extLst>
          </p:cNvPr>
          <p:cNvGrpSpPr/>
          <p:nvPr/>
        </p:nvGrpSpPr>
        <p:grpSpPr>
          <a:xfrm>
            <a:off x="6612601" y="1059094"/>
            <a:ext cx="1499356" cy="292418"/>
            <a:chOff x="1561389" y="5262184"/>
            <a:chExt cx="1875416" cy="365760"/>
          </a:xfrm>
        </p:grpSpPr>
        <p:grpSp>
          <p:nvGrpSpPr>
            <p:cNvPr id="146" name="Group 145">
              <a:extLst>
                <a:ext uri="{FF2B5EF4-FFF2-40B4-BE49-F238E27FC236}">
                  <a16:creationId xmlns:a16="http://schemas.microsoft.com/office/drawing/2014/main" id="{2483CEFF-8F73-D51B-EF09-BE3E6541853B}"/>
                </a:ext>
              </a:extLst>
            </p:cNvPr>
            <p:cNvGrpSpPr/>
            <p:nvPr/>
          </p:nvGrpSpPr>
          <p:grpSpPr>
            <a:xfrm>
              <a:off x="1561389" y="5285044"/>
              <a:ext cx="1691487" cy="320040"/>
              <a:chOff x="1561389" y="5213214"/>
              <a:chExt cx="1691487" cy="320040"/>
            </a:xfrm>
          </p:grpSpPr>
          <p:sp>
            <p:nvSpPr>
              <p:cNvPr id="149" name="Rectangle: Rounded Corners 148">
                <a:extLst>
                  <a:ext uri="{FF2B5EF4-FFF2-40B4-BE49-F238E27FC236}">
                    <a16:creationId xmlns:a16="http://schemas.microsoft.com/office/drawing/2014/main" id="{5C388B23-0F98-4E3A-E952-D383654727A2}"/>
                  </a:ext>
                </a:extLst>
              </p:cNvPr>
              <p:cNvSpPr/>
              <p:nvPr/>
            </p:nvSpPr>
            <p:spPr bwMode="auto">
              <a:xfrm>
                <a:off x="1693767" y="5213214"/>
                <a:ext cx="1559109" cy="32004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r"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0" name="TextBox 149">
                <a:extLst>
                  <a:ext uri="{FF2B5EF4-FFF2-40B4-BE49-F238E27FC236}">
                    <a16:creationId xmlns:a16="http://schemas.microsoft.com/office/drawing/2014/main" id="{DDFCE9D8-9252-1230-62CB-2CA1E0D7E8FC}"/>
                  </a:ext>
                </a:extLst>
              </p:cNvPr>
              <p:cNvSpPr txBox="1"/>
              <p:nvPr/>
            </p:nvSpPr>
            <p:spPr>
              <a:xfrm>
                <a:off x="1561389" y="5283207"/>
                <a:ext cx="1462885"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r"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000000"/>
                    </a:solidFill>
                    <a:effectLst/>
                    <a:uLnTx/>
                    <a:uFillTx/>
                    <a:latin typeface="Segoe UI Semibold"/>
                    <a:ea typeface="+mn-ea"/>
                    <a:cs typeface="Segoe UI Semilight" panose="020B0402040204020203" pitchFamily="34" charset="0"/>
                  </a:rPr>
                  <a:t>New worker joins</a:t>
                </a:r>
              </a:p>
            </p:txBody>
          </p:sp>
        </p:grpSp>
        <p:sp>
          <p:nvSpPr>
            <p:cNvPr id="147" name="Oval 146">
              <a:extLst>
                <a:ext uri="{FF2B5EF4-FFF2-40B4-BE49-F238E27FC236}">
                  <a16:creationId xmlns:a16="http://schemas.microsoft.com/office/drawing/2014/main" id="{920E6FC3-39A4-CE6F-A179-3D0E0C26A161}"/>
                </a:ext>
              </a:extLst>
            </p:cNvPr>
            <p:cNvSpPr/>
            <p:nvPr/>
          </p:nvSpPr>
          <p:spPr bwMode="auto">
            <a:xfrm>
              <a:off x="3071045" y="5262184"/>
              <a:ext cx="365760" cy="36576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48" name="Graphic 147">
              <a:extLst>
                <a:ext uri="{FF2B5EF4-FFF2-40B4-BE49-F238E27FC236}">
                  <a16:creationId xmlns:a16="http://schemas.microsoft.com/office/drawing/2014/main" id="{785AEEDF-B073-9038-4A61-17856AB3E0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9625" y="5330764"/>
              <a:ext cx="228600" cy="228600"/>
            </a:xfrm>
            <a:prstGeom prst="rect">
              <a:avLst/>
            </a:prstGeom>
          </p:spPr>
        </p:pic>
      </p:grpSp>
      <p:sp>
        <p:nvSpPr>
          <p:cNvPr id="151" name="Arrow: Up 150">
            <a:extLst>
              <a:ext uri="{FF2B5EF4-FFF2-40B4-BE49-F238E27FC236}">
                <a16:creationId xmlns:a16="http://schemas.microsoft.com/office/drawing/2014/main" id="{16D05BA4-F1B0-128E-B101-DF391BB59680}"/>
              </a:ext>
            </a:extLst>
          </p:cNvPr>
          <p:cNvSpPr/>
          <p:nvPr/>
        </p:nvSpPr>
        <p:spPr bwMode="auto">
          <a:xfrm>
            <a:off x="9831512" y="917090"/>
            <a:ext cx="153347" cy="183320"/>
          </a:xfrm>
          <a:prstGeom prst="upArrow">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52" name="Group 151">
            <a:extLst>
              <a:ext uri="{FF2B5EF4-FFF2-40B4-BE49-F238E27FC236}">
                <a16:creationId xmlns:a16="http://schemas.microsoft.com/office/drawing/2014/main" id="{1D89362F-0E50-31F6-76FF-FC0388B86EE9}"/>
              </a:ext>
            </a:extLst>
          </p:cNvPr>
          <p:cNvGrpSpPr/>
          <p:nvPr/>
        </p:nvGrpSpPr>
        <p:grpSpPr>
          <a:xfrm>
            <a:off x="9757867" y="596009"/>
            <a:ext cx="2047009" cy="292418"/>
            <a:chOff x="3071045" y="4819773"/>
            <a:chExt cx="2560427" cy="365760"/>
          </a:xfrm>
        </p:grpSpPr>
        <p:grpSp>
          <p:nvGrpSpPr>
            <p:cNvPr id="153" name="Group 152">
              <a:extLst>
                <a:ext uri="{FF2B5EF4-FFF2-40B4-BE49-F238E27FC236}">
                  <a16:creationId xmlns:a16="http://schemas.microsoft.com/office/drawing/2014/main" id="{404EC061-AC59-BC75-7F0F-F7F867685FFF}"/>
                </a:ext>
              </a:extLst>
            </p:cNvPr>
            <p:cNvGrpSpPr/>
            <p:nvPr/>
          </p:nvGrpSpPr>
          <p:grpSpPr>
            <a:xfrm>
              <a:off x="3286797" y="4842633"/>
              <a:ext cx="2344675" cy="320040"/>
              <a:chOff x="3286797" y="4843791"/>
              <a:chExt cx="2344675" cy="320040"/>
            </a:xfrm>
          </p:grpSpPr>
          <p:sp>
            <p:nvSpPr>
              <p:cNvPr id="156" name="Rectangle: Rounded Corners 155">
                <a:extLst>
                  <a:ext uri="{FF2B5EF4-FFF2-40B4-BE49-F238E27FC236}">
                    <a16:creationId xmlns:a16="http://schemas.microsoft.com/office/drawing/2014/main" id="{3E1460F2-5A88-6019-DE7B-87E60D5147A1}"/>
                  </a:ext>
                </a:extLst>
              </p:cNvPr>
              <p:cNvSpPr/>
              <p:nvPr/>
            </p:nvSpPr>
            <p:spPr bwMode="auto">
              <a:xfrm>
                <a:off x="3286797" y="4843791"/>
                <a:ext cx="2344675" cy="32004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79D6ABE6-8BCF-EBE8-95E4-A1B669519B5E}"/>
                  </a:ext>
                </a:extLst>
              </p:cNvPr>
              <p:cNvSpPr txBox="1"/>
              <p:nvPr/>
            </p:nvSpPr>
            <p:spPr>
              <a:xfrm>
                <a:off x="3515397" y="4913784"/>
                <a:ext cx="205740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l"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FFFFFF"/>
                    </a:solidFill>
                    <a:effectLst/>
                    <a:uLnTx/>
                    <a:uFillTx/>
                    <a:latin typeface="Segoe UI Semibold"/>
                    <a:ea typeface="+mn-ea"/>
                    <a:cs typeface="Segoe UI Semilight" panose="020B0402040204020203" pitchFamily="34" charset="0"/>
                  </a:rPr>
                  <a:t>Launch termination workflow</a:t>
                </a:r>
              </a:p>
            </p:txBody>
          </p:sp>
        </p:grpSp>
        <p:sp>
          <p:nvSpPr>
            <p:cNvPr id="154" name="Oval 153">
              <a:extLst>
                <a:ext uri="{FF2B5EF4-FFF2-40B4-BE49-F238E27FC236}">
                  <a16:creationId xmlns:a16="http://schemas.microsoft.com/office/drawing/2014/main" id="{E7769028-8C5C-C6D1-BAC6-B7B0F3529512}"/>
                </a:ext>
              </a:extLst>
            </p:cNvPr>
            <p:cNvSpPr/>
            <p:nvPr/>
          </p:nvSpPr>
          <p:spPr bwMode="auto">
            <a:xfrm>
              <a:off x="3071045" y="4819773"/>
              <a:ext cx="365760" cy="365760"/>
            </a:xfrm>
            <a:prstGeom prst="ellipse">
              <a:avLst/>
            </a:prstGeom>
            <a:solidFill>
              <a:srgbClr val="FFFFFF"/>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55" name="Graphic 154">
              <a:extLst>
                <a:ext uri="{FF2B5EF4-FFF2-40B4-BE49-F238E27FC236}">
                  <a16:creationId xmlns:a16="http://schemas.microsoft.com/office/drawing/2014/main" id="{DFAA49C4-B4A7-A934-0B91-DC57B88E49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39625" y="4888353"/>
              <a:ext cx="228600" cy="228600"/>
            </a:xfrm>
            <a:prstGeom prst="rect">
              <a:avLst/>
            </a:prstGeom>
          </p:spPr>
        </p:pic>
      </p:grpSp>
      <p:grpSp>
        <p:nvGrpSpPr>
          <p:cNvPr id="158" name="Group 157">
            <a:extLst>
              <a:ext uri="{FF2B5EF4-FFF2-40B4-BE49-F238E27FC236}">
                <a16:creationId xmlns:a16="http://schemas.microsoft.com/office/drawing/2014/main" id="{6FC97265-BFBA-2860-F441-D3C55BB1D4AC}"/>
              </a:ext>
            </a:extLst>
          </p:cNvPr>
          <p:cNvGrpSpPr/>
          <p:nvPr/>
        </p:nvGrpSpPr>
        <p:grpSpPr>
          <a:xfrm>
            <a:off x="9761979" y="1078251"/>
            <a:ext cx="2000099" cy="292418"/>
            <a:chOff x="3071045" y="5262184"/>
            <a:chExt cx="2501752" cy="365760"/>
          </a:xfrm>
        </p:grpSpPr>
        <p:grpSp>
          <p:nvGrpSpPr>
            <p:cNvPr id="159" name="Group 158">
              <a:extLst>
                <a:ext uri="{FF2B5EF4-FFF2-40B4-BE49-F238E27FC236}">
                  <a16:creationId xmlns:a16="http://schemas.microsoft.com/office/drawing/2014/main" id="{198BF8A4-EAAF-94D4-6040-96A9BC48F0D3}"/>
                </a:ext>
              </a:extLst>
            </p:cNvPr>
            <p:cNvGrpSpPr/>
            <p:nvPr/>
          </p:nvGrpSpPr>
          <p:grpSpPr>
            <a:xfrm>
              <a:off x="3286797" y="5285044"/>
              <a:ext cx="2286000" cy="320040"/>
              <a:chOff x="3286797" y="5213214"/>
              <a:chExt cx="2286000" cy="320040"/>
            </a:xfrm>
          </p:grpSpPr>
          <p:sp>
            <p:nvSpPr>
              <p:cNvPr id="162" name="Rectangle: Rounded Corners 161">
                <a:extLst>
                  <a:ext uri="{FF2B5EF4-FFF2-40B4-BE49-F238E27FC236}">
                    <a16:creationId xmlns:a16="http://schemas.microsoft.com/office/drawing/2014/main" id="{BAECE4E3-96CC-E2D7-DA03-50D1DFFD7B4C}"/>
                  </a:ext>
                </a:extLst>
              </p:cNvPr>
              <p:cNvSpPr/>
              <p:nvPr/>
            </p:nvSpPr>
            <p:spPr bwMode="auto">
              <a:xfrm>
                <a:off x="3286797" y="5213214"/>
                <a:ext cx="2286000" cy="32004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3" name="TextBox 162">
                <a:extLst>
                  <a:ext uri="{FF2B5EF4-FFF2-40B4-BE49-F238E27FC236}">
                    <a16:creationId xmlns:a16="http://schemas.microsoft.com/office/drawing/2014/main" id="{D49D443B-EBEA-B84C-3F95-B2EABC5E680B}"/>
                  </a:ext>
                </a:extLst>
              </p:cNvPr>
              <p:cNvSpPr txBox="1"/>
              <p:nvPr/>
            </p:nvSpPr>
            <p:spPr>
              <a:xfrm>
                <a:off x="3515397" y="5283207"/>
                <a:ext cx="205740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l"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000000"/>
                    </a:solidFill>
                    <a:effectLst/>
                    <a:uLnTx/>
                    <a:uFillTx/>
                    <a:latin typeface="Segoe UI Semibold"/>
                    <a:ea typeface="+mn-ea"/>
                    <a:cs typeface="Segoe UI Semilight" panose="020B0402040204020203" pitchFamily="34" charset="0"/>
                  </a:rPr>
                  <a:t>Worker separates from org</a:t>
                </a:r>
              </a:p>
            </p:txBody>
          </p:sp>
        </p:grpSp>
        <p:sp>
          <p:nvSpPr>
            <p:cNvPr id="160" name="Oval 159">
              <a:extLst>
                <a:ext uri="{FF2B5EF4-FFF2-40B4-BE49-F238E27FC236}">
                  <a16:creationId xmlns:a16="http://schemas.microsoft.com/office/drawing/2014/main" id="{E0895DAA-0273-3606-39A4-E4E7681F0148}"/>
                </a:ext>
              </a:extLst>
            </p:cNvPr>
            <p:cNvSpPr/>
            <p:nvPr/>
          </p:nvSpPr>
          <p:spPr bwMode="auto">
            <a:xfrm>
              <a:off x="3071045" y="5262184"/>
              <a:ext cx="365760" cy="36576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2939077-11E4-FA74-D24B-00F32528DE6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9625" y="5330764"/>
              <a:ext cx="228600" cy="228600"/>
            </a:xfrm>
            <a:prstGeom prst="rect">
              <a:avLst/>
            </a:prstGeom>
          </p:spPr>
        </p:pic>
      </p:grpSp>
      <p:grpSp>
        <p:nvGrpSpPr>
          <p:cNvPr id="164" name="Group 163">
            <a:extLst>
              <a:ext uri="{FF2B5EF4-FFF2-40B4-BE49-F238E27FC236}">
                <a16:creationId xmlns:a16="http://schemas.microsoft.com/office/drawing/2014/main" id="{6A93C6B3-D26B-0A1A-E1B9-2D474AF71503}"/>
              </a:ext>
            </a:extLst>
          </p:cNvPr>
          <p:cNvGrpSpPr/>
          <p:nvPr/>
        </p:nvGrpSpPr>
        <p:grpSpPr>
          <a:xfrm>
            <a:off x="5824741" y="3209234"/>
            <a:ext cx="1540852" cy="1451414"/>
            <a:chOff x="958087" y="1869022"/>
            <a:chExt cx="1540852" cy="1451414"/>
          </a:xfrm>
        </p:grpSpPr>
        <p:grpSp>
          <p:nvGrpSpPr>
            <p:cNvPr id="165" name="Group 164">
              <a:extLst>
                <a:ext uri="{FF2B5EF4-FFF2-40B4-BE49-F238E27FC236}">
                  <a16:creationId xmlns:a16="http://schemas.microsoft.com/office/drawing/2014/main" id="{C8EBB02F-ED62-FC19-D48B-63367B6351BF}"/>
                </a:ext>
              </a:extLst>
            </p:cNvPr>
            <p:cNvGrpSpPr/>
            <p:nvPr/>
          </p:nvGrpSpPr>
          <p:grpSpPr>
            <a:xfrm>
              <a:off x="958087" y="1869022"/>
              <a:ext cx="1540852" cy="1249658"/>
              <a:chOff x="958087" y="1869022"/>
              <a:chExt cx="1540852" cy="1249658"/>
            </a:xfrm>
          </p:grpSpPr>
          <p:sp>
            <p:nvSpPr>
              <p:cNvPr id="181" name="Rectangle: Rounded Corners 180">
                <a:extLst>
                  <a:ext uri="{FF2B5EF4-FFF2-40B4-BE49-F238E27FC236}">
                    <a16:creationId xmlns:a16="http://schemas.microsoft.com/office/drawing/2014/main" id="{2BF10416-5CB2-3B90-1651-467B3A10869F}"/>
                  </a:ext>
                </a:extLst>
              </p:cNvPr>
              <p:cNvSpPr/>
              <p:nvPr/>
            </p:nvSpPr>
            <p:spPr bwMode="auto">
              <a:xfrm>
                <a:off x="958087" y="1869022"/>
                <a:ext cx="1540852" cy="1039511"/>
              </a:xfrm>
              <a:prstGeom prst="roundRect">
                <a:avLst/>
              </a:prstGeom>
              <a:solidFill>
                <a:schemeClr val="bg1"/>
              </a:solidFill>
              <a:ln>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B001350A-C15F-ED59-CFC6-CFBD994EC4A4}"/>
                  </a:ext>
                </a:extLst>
              </p:cNvPr>
              <p:cNvSpPr/>
              <p:nvPr/>
            </p:nvSpPr>
            <p:spPr bwMode="auto">
              <a:xfrm>
                <a:off x="1514369" y="2699920"/>
                <a:ext cx="418760" cy="41876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67" name="Graphic 28">
              <a:extLst>
                <a:ext uri="{FF2B5EF4-FFF2-40B4-BE49-F238E27FC236}">
                  <a16:creationId xmlns:a16="http://schemas.microsoft.com/office/drawing/2014/main" id="{B6785D61-8CE2-24B4-60EA-2E1CB721EE29}"/>
                </a:ext>
              </a:extLst>
            </p:cNvPr>
            <p:cNvGrpSpPr/>
            <p:nvPr/>
          </p:nvGrpSpPr>
          <p:grpSpPr>
            <a:xfrm>
              <a:off x="1078007" y="2284824"/>
              <a:ext cx="1354159" cy="297273"/>
              <a:chOff x="-121582" y="6920778"/>
              <a:chExt cx="1354159" cy="297273"/>
            </a:xfrm>
          </p:grpSpPr>
          <p:sp>
            <p:nvSpPr>
              <p:cNvPr id="179" name="Freeform: Shape 178">
                <a:extLst>
                  <a:ext uri="{FF2B5EF4-FFF2-40B4-BE49-F238E27FC236}">
                    <a16:creationId xmlns:a16="http://schemas.microsoft.com/office/drawing/2014/main" id="{DE011B6E-795E-2FE5-29A5-1934F1788B91}"/>
                  </a:ext>
                </a:extLst>
              </p:cNvPr>
              <p:cNvSpPr/>
              <p:nvPr/>
            </p:nvSpPr>
            <p:spPr>
              <a:xfrm>
                <a:off x="1021035" y="6920778"/>
                <a:ext cx="211542" cy="297273"/>
              </a:xfrm>
              <a:custGeom>
                <a:avLst/>
                <a:gdLst>
                  <a:gd name="connsiteX0" fmla="*/ 45234 w 141646"/>
                  <a:gd name="connsiteY0" fmla="*/ 16658 h 152400"/>
                  <a:gd name="connsiteX1" fmla="*/ 15716 w 141646"/>
                  <a:gd name="connsiteY1" fmla="*/ 49280 h 152400"/>
                  <a:gd name="connsiteX2" fmla="*/ 57388 w 141646"/>
                  <a:gd name="connsiteY2" fmla="*/ 114635 h 152400"/>
                  <a:gd name="connsiteX3" fmla="*/ 70828 w 141646"/>
                  <a:gd name="connsiteY3" fmla="*/ 128843 h 152400"/>
                  <a:gd name="connsiteX4" fmla="*/ 84230 w 141646"/>
                  <a:gd name="connsiteY4" fmla="*/ 114635 h 152400"/>
                  <a:gd name="connsiteX5" fmla="*/ 125930 w 141646"/>
                  <a:gd name="connsiteY5" fmla="*/ 49280 h 152400"/>
                  <a:gd name="connsiteX6" fmla="*/ 96412 w 141646"/>
                  <a:gd name="connsiteY6" fmla="*/ 16658 h 152400"/>
                  <a:gd name="connsiteX7" fmla="*/ 76467 w 141646"/>
                  <a:gd name="connsiteY7" fmla="*/ 25748 h 152400"/>
                  <a:gd name="connsiteX8" fmla="*/ 70828 w 141646"/>
                  <a:gd name="connsiteY8" fmla="*/ 31926 h 152400"/>
                  <a:gd name="connsiteX9" fmla="*/ 65180 w 141646"/>
                  <a:gd name="connsiteY9" fmla="*/ 25748 h 152400"/>
                  <a:gd name="connsiteX10" fmla="*/ 45234 w 141646"/>
                  <a:gd name="connsiteY10" fmla="*/ 16658 h 152400"/>
                  <a:gd name="connsiteX11" fmla="*/ 70828 w 141646"/>
                  <a:gd name="connsiteY11" fmla="*/ 152400 h 152400"/>
                  <a:gd name="connsiteX12" fmla="*/ 46320 w 141646"/>
                  <a:gd name="connsiteY12" fmla="*/ 126429 h 152400"/>
                  <a:gd name="connsiteX13" fmla="*/ 0 w 141646"/>
                  <a:gd name="connsiteY13" fmla="*/ 49280 h 152400"/>
                  <a:gd name="connsiteX14" fmla="*/ 45234 w 141646"/>
                  <a:gd name="connsiteY14" fmla="*/ 0 h 152400"/>
                  <a:gd name="connsiteX15" fmla="*/ 70828 w 141646"/>
                  <a:gd name="connsiteY15" fmla="*/ 8914 h 152400"/>
                  <a:gd name="connsiteX16" fmla="*/ 96412 w 141646"/>
                  <a:gd name="connsiteY16" fmla="*/ 0 h 152400"/>
                  <a:gd name="connsiteX17" fmla="*/ 141646 w 141646"/>
                  <a:gd name="connsiteY17" fmla="*/ 49280 h 152400"/>
                  <a:gd name="connsiteX18" fmla="*/ 95326 w 141646"/>
                  <a:gd name="connsiteY18" fmla="*/ 126436 h 152400"/>
                  <a:gd name="connsiteX19" fmla="*/ 70828 w 141646"/>
                  <a:gd name="connsiteY19"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646" h="152400">
                    <a:moveTo>
                      <a:pt x="45234" y="16658"/>
                    </a:moveTo>
                    <a:cubicBezTo>
                      <a:pt x="27565" y="16658"/>
                      <a:pt x="15716" y="29767"/>
                      <a:pt x="15716" y="49280"/>
                    </a:cubicBezTo>
                    <a:cubicBezTo>
                      <a:pt x="15716" y="70586"/>
                      <a:pt x="35033" y="91000"/>
                      <a:pt x="57388" y="114635"/>
                    </a:cubicBezTo>
                    <a:lnTo>
                      <a:pt x="70828" y="128843"/>
                    </a:lnTo>
                    <a:lnTo>
                      <a:pt x="84230" y="114635"/>
                    </a:lnTo>
                    <a:cubicBezTo>
                      <a:pt x="106613" y="91000"/>
                      <a:pt x="125930" y="70586"/>
                      <a:pt x="125930" y="49280"/>
                    </a:cubicBezTo>
                    <a:cubicBezTo>
                      <a:pt x="125930" y="29767"/>
                      <a:pt x="114071" y="16658"/>
                      <a:pt x="96412" y="16658"/>
                    </a:cubicBezTo>
                    <a:cubicBezTo>
                      <a:pt x="88906" y="16658"/>
                      <a:pt x="81820" y="19881"/>
                      <a:pt x="76467" y="25748"/>
                    </a:cubicBezTo>
                    <a:lnTo>
                      <a:pt x="70828" y="31926"/>
                    </a:lnTo>
                    <a:lnTo>
                      <a:pt x="65180" y="25748"/>
                    </a:lnTo>
                    <a:cubicBezTo>
                      <a:pt x="59827" y="19881"/>
                      <a:pt x="52740" y="16658"/>
                      <a:pt x="45234" y="16658"/>
                    </a:cubicBezTo>
                    <a:close/>
                    <a:moveTo>
                      <a:pt x="70828" y="152400"/>
                    </a:moveTo>
                    <a:lnTo>
                      <a:pt x="46320" y="126429"/>
                    </a:lnTo>
                    <a:cubicBezTo>
                      <a:pt x="21450" y="100193"/>
                      <a:pt x="0" y="77517"/>
                      <a:pt x="0" y="49280"/>
                    </a:cubicBezTo>
                    <a:cubicBezTo>
                      <a:pt x="0" y="20719"/>
                      <a:pt x="19021" y="0"/>
                      <a:pt x="45234" y="0"/>
                    </a:cubicBezTo>
                    <a:cubicBezTo>
                      <a:pt x="54531" y="0"/>
                      <a:pt x="63379" y="3117"/>
                      <a:pt x="70828" y="8914"/>
                    </a:cubicBezTo>
                    <a:cubicBezTo>
                      <a:pt x="78238" y="3117"/>
                      <a:pt x="87116" y="0"/>
                      <a:pt x="96412" y="0"/>
                    </a:cubicBezTo>
                    <a:cubicBezTo>
                      <a:pt x="122625" y="0"/>
                      <a:pt x="141646" y="20719"/>
                      <a:pt x="141646" y="49280"/>
                    </a:cubicBezTo>
                    <a:cubicBezTo>
                      <a:pt x="141646" y="77509"/>
                      <a:pt x="120167" y="100193"/>
                      <a:pt x="95326" y="126436"/>
                    </a:cubicBezTo>
                    <a:lnTo>
                      <a:pt x="70828" y="152400"/>
                    </a:lnTo>
                    <a:close/>
                  </a:path>
                </a:pathLst>
              </a:custGeom>
              <a:solidFill>
                <a:srgbClr val="F0A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FC2B8624-7194-9A71-D72D-767262136D84}"/>
                  </a:ext>
                </a:extLst>
              </p:cNvPr>
              <p:cNvSpPr/>
              <p:nvPr/>
            </p:nvSpPr>
            <p:spPr>
              <a:xfrm>
                <a:off x="-121582" y="6920778"/>
                <a:ext cx="1103795" cy="262765"/>
              </a:xfrm>
              <a:custGeom>
                <a:avLst/>
                <a:gdLst>
                  <a:gd name="connsiteX0" fmla="*/ 1049570 w 1103795"/>
                  <a:gd name="connsiteY0" fmla="*/ 76859 h 86420"/>
                  <a:gd name="connsiteX1" fmla="*/ 1056733 w 1103795"/>
                  <a:gd name="connsiteY1" fmla="*/ 66736 h 86420"/>
                  <a:gd name="connsiteX2" fmla="*/ 1077469 w 1103795"/>
                  <a:gd name="connsiteY2" fmla="*/ 74501 h 86420"/>
                  <a:gd name="connsiteX3" fmla="*/ 1086994 w 1103795"/>
                  <a:gd name="connsiteY3" fmla="*/ 68648 h 86420"/>
                  <a:gd name="connsiteX4" fmla="*/ 1075659 w 1103795"/>
                  <a:gd name="connsiteY4" fmla="*/ 61441 h 86420"/>
                  <a:gd name="connsiteX5" fmla="*/ 1052275 w 1103795"/>
                  <a:gd name="connsiteY5" fmla="*/ 42652 h 86420"/>
                  <a:gd name="connsiteX6" fmla="*/ 1075449 w 1103795"/>
                  <a:gd name="connsiteY6" fmla="*/ 23636 h 86420"/>
                  <a:gd name="connsiteX7" fmla="*/ 1101653 w 1103795"/>
                  <a:gd name="connsiteY7" fmla="*/ 32076 h 86420"/>
                  <a:gd name="connsiteX8" fmla="*/ 1094595 w 1103795"/>
                  <a:gd name="connsiteY8" fmla="*/ 42314 h 86420"/>
                  <a:gd name="connsiteX9" fmla="*/ 1077002 w 1103795"/>
                  <a:gd name="connsiteY9" fmla="*/ 35786 h 86420"/>
                  <a:gd name="connsiteX10" fmla="*/ 1068963 w 1103795"/>
                  <a:gd name="connsiteY10" fmla="*/ 41077 h 86420"/>
                  <a:gd name="connsiteX11" fmla="*/ 1079574 w 1103795"/>
                  <a:gd name="connsiteY11" fmla="*/ 47494 h 86420"/>
                  <a:gd name="connsiteX12" fmla="*/ 1103796 w 1103795"/>
                  <a:gd name="connsiteY12" fmla="*/ 65837 h 86420"/>
                  <a:gd name="connsiteX13" fmla="*/ 1077469 w 1103795"/>
                  <a:gd name="connsiteY13" fmla="*/ 86083 h 86420"/>
                  <a:gd name="connsiteX14" fmla="*/ 1049570 w 1103795"/>
                  <a:gd name="connsiteY14" fmla="*/ 76859 h 86420"/>
                  <a:gd name="connsiteX15" fmla="*/ 1008146 w 1103795"/>
                  <a:gd name="connsiteY15" fmla="*/ 84850 h 86420"/>
                  <a:gd name="connsiteX16" fmla="*/ 1008146 w 1103795"/>
                  <a:gd name="connsiteY16" fmla="*/ 24872 h 86420"/>
                  <a:gd name="connsiteX17" fmla="*/ 1026177 w 1103795"/>
                  <a:gd name="connsiteY17" fmla="*/ 24872 h 86420"/>
                  <a:gd name="connsiteX18" fmla="*/ 1026177 w 1103795"/>
                  <a:gd name="connsiteY18" fmla="*/ 34891 h 86420"/>
                  <a:gd name="connsiteX19" fmla="*/ 1026281 w 1103795"/>
                  <a:gd name="connsiteY19" fmla="*/ 34891 h 86420"/>
                  <a:gd name="connsiteX20" fmla="*/ 1046446 w 1103795"/>
                  <a:gd name="connsiteY20" fmla="*/ 23636 h 86420"/>
                  <a:gd name="connsiteX21" fmla="*/ 1046998 w 1103795"/>
                  <a:gd name="connsiteY21" fmla="*/ 23636 h 86420"/>
                  <a:gd name="connsiteX22" fmla="*/ 1046779 w 1103795"/>
                  <a:gd name="connsiteY22" fmla="*/ 39729 h 86420"/>
                  <a:gd name="connsiteX23" fmla="*/ 1042074 w 1103795"/>
                  <a:gd name="connsiteY23" fmla="*/ 39388 h 86420"/>
                  <a:gd name="connsiteX24" fmla="*/ 1026177 w 1103795"/>
                  <a:gd name="connsiteY24" fmla="*/ 47609 h 86420"/>
                  <a:gd name="connsiteX25" fmla="*/ 1026177 w 1103795"/>
                  <a:gd name="connsiteY25" fmla="*/ 84850 h 86420"/>
                  <a:gd name="connsiteX26" fmla="*/ 1008146 w 1103795"/>
                  <a:gd name="connsiteY26" fmla="*/ 84850 h 86420"/>
                  <a:gd name="connsiteX27" fmla="*/ 979695 w 1103795"/>
                  <a:gd name="connsiteY27" fmla="*/ 55032 h 86420"/>
                  <a:gd name="connsiteX28" fmla="*/ 967274 w 1103795"/>
                  <a:gd name="connsiteY28" fmla="*/ 36914 h 86420"/>
                  <a:gd name="connsiteX29" fmla="*/ 954720 w 1103795"/>
                  <a:gd name="connsiteY29" fmla="*/ 55032 h 86420"/>
                  <a:gd name="connsiteX30" fmla="*/ 967274 w 1103795"/>
                  <a:gd name="connsiteY30" fmla="*/ 73372 h 86420"/>
                  <a:gd name="connsiteX31" fmla="*/ 979695 w 1103795"/>
                  <a:gd name="connsiteY31" fmla="*/ 55032 h 86420"/>
                  <a:gd name="connsiteX32" fmla="*/ 936689 w 1103795"/>
                  <a:gd name="connsiteY32" fmla="*/ 54917 h 86420"/>
                  <a:gd name="connsiteX33" fmla="*/ 967274 w 1103795"/>
                  <a:gd name="connsiteY33" fmla="*/ 23636 h 86420"/>
                  <a:gd name="connsiteX34" fmla="*/ 997725 w 1103795"/>
                  <a:gd name="connsiteY34" fmla="*/ 54917 h 86420"/>
                  <a:gd name="connsiteX35" fmla="*/ 967274 w 1103795"/>
                  <a:gd name="connsiteY35" fmla="*/ 86083 h 86420"/>
                  <a:gd name="connsiteX36" fmla="*/ 936689 w 1103795"/>
                  <a:gd name="connsiteY36" fmla="*/ 54917 h 86420"/>
                  <a:gd name="connsiteX37" fmla="*/ 898065 w 1103795"/>
                  <a:gd name="connsiteY37" fmla="*/ 67973 h 86420"/>
                  <a:gd name="connsiteX38" fmla="*/ 898065 w 1103795"/>
                  <a:gd name="connsiteY38" fmla="*/ 38040 h 86420"/>
                  <a:gd name="connsiteX39" fmla="*/ 888105 w 1103795"/>
                  <a:gd name="connsiteY39" fmla="*/ 38040 h 86420"/>
                  <a:gd name="connsiteX40" fmla="*/ 888105 w 1103795"/>
                  <a:gd name="connsiteY40" fmla="*/ 24872 h 86420"/>
                  <a:gd name="connsiteX41" fmla="*/ 898065 w 1103795"/>
                  <a:gd name="connsiteY41" fmla="*/ 24872 h 86420"/>
                  <a:gd name="connsiteX42" fmla="*/ 898065 w 1103795"/>
                  <a:gd name="connsiteY42" fmla="*/ 4285 h 86420"/>
                  <a:gd name="connsiteX43" fmla="*/ 915984 w 1103795"/>
                  <a:gd name="connsiteY43" fmla="*/ 4285 h 86420"/>
                  <a:gd name="connsiteX44" fmla="*/ 915984 w 1103795"/>
                  <a:gd name="connsiteY44" fmla="*/ 24872 h 86420"/>
                  <a:gd name="connsiteX45" fmla="*/ 931329 w 1103795"/>
                  <a:gd name="connsiteY45" fmla="*/ 24872 h 86420"/>
                  <a:gd name="connsiteX46" fmla="*/ 931329 w 1103795"/>
                  <a:gd name="connsiteY46" fmla="*/ 38040 h 86420"/>
                  <a:gd name="connsiteX47" fmla="*/ 915984 w 1103795"/>
                  <a:gd name="connsiteY47" fmla="*/ 38040 h 86420"/>
                  <a:gd name="connsiteX48" fmla="*/ 915984 w 1103795"/>
                  <a:gd name="connsiteY48" fmla="*/ 64033 h 86420"/>
                  <a:gd name="connsiteX49" fmla="*/ 924270 w 1103795"/>
                  <a:gd name="connsiteY49" fmla="*/ 72473 h 86420"/>
                  <a:gd name="connsiteX50" fmla="*/ 930208 w 1103795"/>
                  <a:gd name="connsiteY50" fmla="*/ 71794 h 86420"/>
                  <a:gd name="connsiteX51" fmla="*/ 930208 w 1103795"/>
                  <a:gd name="connsiteY51" fmla="*/ 84738 h 86420"/>
                  <a:gd name="connsiteX52" fmla="*/ 918334 w 1103795"/>
                  <a:gd name="connsiteY52" fmla="*/ 85641 h 86420"/>
                  <a:gd name="connsiteX53" fmla="*/ 898065 w 1103795"/>
                  <a:gd name="connsiteY53" fmla="*/ 67973 h 86420"/>
                  <a:gd name="connsiteX54" fmla="*/ 827864 w 1103795"/>
                  <a:gd name="connsiteY54" fmla="*/ 54917 h 86420"/>
                  <a:gd name="connsiteX55" fmla="*/ 857982 w 1103795"/>
                  <a:gd name="connsiteY55" fmla="*/ 23636 h 86420"/>
                  <a:gd name="connsiteX56" fmla="*/ 883972 w 1103795"/>
                  <a:gd name="connsiteY56" fmla="*/ 41976 h 86420"/>
                  <a:gd name="connsiteX57" fmla="*/ 868845 w 1103795"/>
                  <a:gd name="connsiteY57" fmla="*/ 47041 h 86420"/>
                  <a:gd name="connsiteX58" fmla="*/ 857768 w 1103795"/>
                  <a:gd name="connsiteY58" fmla="*/ 36914 h 86420"/>
                  <a:gd name="connsiteX59" fmla="*/ 845893 w 1103795"/>
                  <a:gd name="connsiteY59" fmla="*/ 55032 h 86420"/>
                  <a:gd name="connsiteX60" fmla="*/ 857546 w 1103795"/>
                  <a:gd name="connsiteY60" fmla="*/ 73372 h 86420"/>
                  <a:gd name="connsiteX61" fmla="*/ 869286 w 1103795"/>
                  <a:gd name="connsiteY61" fmla="*/ 62681 h 86420"/>
                  <a:gd name="connsiteX62" fmla="*/ 884194 w 1103795"/>
                  <a:gd name="connsiteY62" fmla="*/ 67854 h 86420"/>
                  <a:gd name="connsiteX63" fmla="*/ 857192 w 1103795"/>
                  <a:gd name="connsiteY63" fmla="*/ 86083 h 86420"/>
                  <a:gd name="connsiteX64" fmla="*/ 827864 w 1103795"/>
                  <a:gd name="connsiteY64" fmla="*/ 54917 h 86420"/>
                  <a:gd name="connsiteX65" fmla="*/ 800426 w 1103795"/>
                  <a:gd name="connsiteY65" fmla="*/ 66956 h 86420"/>
                  <a:gd name="connsiteX66" fmla="*/ 800426 w 1103795"/>
                  <a:gd name="connsiteY66" fmla="*/ 55815 h 86420"/>
                  <a:gd name="connsiteX67" fmla="*/ 780153 w 1103795"/>
                  <a:gd name="connsiteY67" fmla="*/ 66391 h 86420"/>
                  <a:gd name="connsiteX68" fmla="*/ 786744 w 1103795"/>
                  <a:gd name="connsiteY68" fmla="*/ 72139 h 86420"/>
                  <a:gd name="connsiteX69" fmla="*/ 800426 w 1103795"/>
                  <a:gd name="connsiteY69" fmla="*/ 66956 h 86420"/>
                  <a:gd name="connsiteX70" fmla="*/ 762562 w 1103795"/>
                  <a:gd name="connsiteY70" fmla="*/ 69544 h 86420"/>
                  <a:gd name="connsiteX71" fmla="*/ 800426 w 1103795"/>
                  <a:gd name="connsiteY71" fmla="*/ 45912 h 86420"/>
                  <a:gd name="connsiteX72" fmla="*/ 800426 w 1103795"/>
                  <a:gd name="connsiteY72" fmla="*/ 44449 h 86420"/>
                  <a:gd name="connsiteX73" fmla="*/ 792354 w 1103795"/>
                  <a:gd name="connsiteY73" fmla="*/ 37249 h 86420"/>
                  <a:gd name="connsiteX74" fmla="*/ 772765 w 1103795"/>
                  <a:gd name="connsiteY74" fmla="*/ 44679 h 86420"/>
                  <a:gd name="connsiteX75" fmla="*/ 765134 w 1103795"/>
                  <a:gd name="connsiteY75" fmla="*/ 34330 h 86420"/>
                  <a:gd name="connsiteX76" fmla="*/ 794927 w 1103795"/>
                  <a:gd name="connsiteY76" fmla="*/ 23636 h 86420"/>
                  <a:gd name="connsiteX77" fmla="*/ 818014 w 1103795"/>
                  <a:gd name="connsiteY77" fmla="*/ 47152 h 86420"/>
                  <a:gd name="connsiteX78" fmla="*/ 818014 w 1103795"/>
                  <a:gd name="connsiteY78" fmla="*/ 70219 h 86420"/>
                  <a:gd name="connsiteX79" fmla="*/ 819681 w 1103795"/>
                  <a:gd name="connsiteY79" fmla="*/ 84850 h 86420"/>
                  <a:gd name="connsiteX80" fmla="*/ 801764 w 1103795"/>
                  <a:gd name="connsiteY80" fmla="*/ 84850 h 86420"/>
                  <a:gd name="connsiteX81" fmla="*/ 800426 w 1103795"/>
                  <a:gd name="connsiteY81" fmla="*/ 76072 h 86420"/>
                  <a:gd name="connsiteX82" fmla="*/ 779578 w 1103795"/>
                  <a:gd name="connsiteY82" fmla="*/ 85749 h 86420"/>
                  <a:gd name="connsiteX83" fmla="*/ 762562 w 1103795"/>
                  <a:gd name="connsiteY83" fmla="*/ 69544 h 86420"/>
                  <a:gd name="connsiteX84" fmla="*/ 711917 w 1103795"/>
                  <a:gd name="connsiteY84" fmla="*/ 84850 h 86420"/>
                  <a:gd name="connsiteX85" fmla="*/ 711917 w 1103795"/>
                  <a:gd name="connsiteY85" fmla="*/ 1579 h 86420"/>
                  <a:gd name="connsiteX86" fmla="*/ 766687 w 1103795"/>
                  <a:gd name="connsiteY86" fmla="*/ 1579 h 86420"/>
                  <a:gd name="connsiteX87" fmla="*/ 766687 w 1103795"/>
                  <a:gd name="connsiteY87" fmla="*/ 16888 h 86420"/>
                  <a:gd name="connsiteX88" fmla="*/ 730165 w 1103795"/>
                  <a:gd name="connsiteY88" fmla="*/ 16888 h 86420"/>
                  <a:gd name="connsiteX89" fmla="*/ 730165 w 1103795"/>
                  <a:gd name="connsiteY89" fmla="*/ 37141 h 86420"/>
                  <a:gd name="connsiteX90" fmla="*/ 756154 w 1103795"/>
                  <a:gd name="connsiteY90" fmla="*/ 37141 h 86420"/>
                  <a:gd name="connsiteX91" fmla="*/ 756154 w 1103795"/>
                  <a:gd name="connsiteY91" fmla="*/ 51653 h 86420"/>
                  <a:gd name="connsiteX92" fmla="*/ 730165 w 1103795"/>
                  <a:gd name="connsiteY92" fmla="*/ 51653 h 86420"/>
                  <a:gd name="connsiteX93" fmla="*/ 730165 w 1103795"/>
                  <a:gd name="connsiteY93" fmla="*/ 84850 h 86420"/>
                  <a:gd name="connsiteX94" fmla="*/ 711917 w 1103795"/>
                  <a:gd name="connsiteY94" fmla="*/ 84850 h 86420"/>
                  <a:gd name="connsiteX95" fmla="*/ 646775 w 1103795"/>
                  <a:gd name="connsiteY95" fmla="*/ 76859 h 86420"/>
                  <a:gd name="connsiteX96" fmla="*/ 653941 w 1103795"/>
                  <a:gd name="connsiteY96" fmla="*/ 66736 h 86420"/>
                  <a:gd name="connsiteX97" fmla="*/ 674650 w 1103795"/>
                  <a:gd name="connsiteY97" fmla="*/ 74501 h 86420"/>
                  <a:gd name="connsiteX98" fmla="*/ 684170 w 1103795"/>
                  <a:gd name="connsiteY98" fmla="*/ 68648 h 86420"/>
                  <a:gd name="connsiteX99" fmla="*/ 672874 w 1103795"/>
                  <a:gd name="connsiteY99" fmla="*/ 61441 h 86420"/>
                  <a:gd name="connsiteX100" fmla="*/ 649454 w 1103795"/>
                  <a:gd name="connsiteY100" fmla="*/ 42652 h 86420"/>
                  <a:gd name="connsiteX101" fmla="*/ 672625 w 1103795"/>
                  <a:gd name="connsiteY101" fmla="*/ 23636 h 86420"/>
                  <a:gd name="connsiteX102" fmla="*/ 698837 w 1103795"/>
                  <a:gd name="connsiteY102" fmla="*/ 32076 h 86420"/>
                  <a:gd name="connsiteX103" fmla="*/ 691778 w 1103795"/>
                  <a:gd name="connsiteY103" fmla="*/ 42314 h 86420"/>
                  <a:gd name="connsiteX104" fmla="*/ 674213 w 1103795"/>
                  <a:gd name="connsiteY104" fmla="*/ 35786 h 86420"/>
                  <a:gd name="connsiteX105" fmla="*/ 666142 w 1103795"/>
                  <a:gd name="connsiteY105" fmla="*/ 41077 h 86420"/>
                  <a:gd name="connsiteX106" fmla="*/ 676785 w 1103795"/>
                  <a:gd name="connsiteY106" fmla="*/ 47494 h 86420"/>
                  <a:gd name="connsiteX107" fmla="*/ 700968 w 1103795"/>
                  <a:gd name="connsiteY107" fmla="*/ 65837 h 86420"/>
                  <a:gd name="connsiteX108" fmla="*/ 674650 w 1103795"/>
                  <a:gd name="connsiteY108" fmla="*/ 86083 h 86420"/>
                  <a:gd name="connsiteX109" fmla="*/ 646775 w 1103795"/>
                  <a:gd name="connsiteY109" fmla="*/ 76859 h 86420"/>
                  <a:gd name="connsiteX110" fmla="*/ 586929 w 1103795"/>
                  <a:gd name="connsiteY110" fmla="*/ 76859 h 86420"/>
                  <a:gd name="connsiteX111" fmla="*/ 594099 w 1103795"/>
                  <a:gd name="connsiteY111" fmla="*/ 66736 h 86420"/>
                  <a:gd name="connsiteX112" fmla="*/ 614808 w 1103795"/>
                  <a:gd name="connsiteY112" fmla="*/ 74501 h 86420"/>
                  <a:gd name="connsiteX113" fmla="*/ 624328 w 1103795"/>
                  <a:gd name="connsiteY113" fmla="*/ 68648 h 86420"/>
                  <a:gd name="connsiteX114" fmla="*/ 613030 w 1103795"/>
                  <a:gd name="connsiteY114" fmla="*/ 61441 h 86420"/>
                  <a:gd name="connsiteX115" fmla="*/ 589610 w 1103795"/>
                  <a:gd name="connsiteY115" fmla="*/ 42652 h 86420"/>
                  <a:gd name="connsiteX116" fmla="*/ 612783 w 1103795"/>
                  <a:gd name="connsiteY116" fmla="*/ 23636 h 86420"/>
                  <a:gd name="connsiteX117" fmla="*/ 638991 w 1103795"/>
                  <a:gd name="connsiteY117" fmla="*/ 32076 h 86420"/>
                  <a:gd name="connsiteX118" fmla="*/ 631932 w 1103795"/>
                  <a:gd name="connsiteY118" fmla="*/ 42314 h 86420"/>
                  <a:gd name="connsiteX119" fmla="*/ 614371 w 1103795"/>
                  <a:gd name="connsiteY119" fmla="*/ 35786 h 86420"/>
                  <a:gd name="connsiteX120" fmla="*/ 606296 w 1103795"/>
                  <a:gd name="connsiteY120" fmla="*/ 41077 h 86420"/>
                  <a:gd name="connsiteX121" fmla="*/ 616941 w 1103795"/>
                  <a:gd name="connsiteY121" fmla="*/ 47494 h 86420"/>
                  <a:gd name="connsiteX122" fmla="*/ 641127 w 1103795"/>
                  <a:gd name="connsiteY122" fmla="*/ 65837 h 86420"/>
                  <a:gd name="connsiteX123" fmla="*/ 614808 w 1103795"/>
                  <a:gd name="connsiteY123" fmla="*/ 86083 h 86420"/>
                  <a:gd name="connsiteX124" fmla="*/ 586929 w 1103795"/>
                  <a:gd name="connsiteY124" fmla="*/ 76859 h 86420"/>
                  <a:gd name="connsiteX125" fmla="*/ 565863 w 1103795"/>
                  <a:gd name="connsiteY125" fmla="*/ 49068 h 86420"/>
                  <a:gd name="connsiteX126" fmla="*/ 554457 w 1103795"/>
                  <a:gd name="connsiteY126" fmla="*/ 36576 h 86420"/>
                  <a:gd name="connsiteX127" fmla="*/ 542692 w 1103795"/>
                  <a:gd name="connsiteY127" fmla="*/ 49068 h 86420"/>
                  <a:gd name="connsiteX128" fmla="*/ 565863 w 1103795"/>
                  <a:gd name="connsiteY128" fmla="*/ 49068 h 86420"/>
                  <a:gd name="connsiteX129" fmla="*/ 524557 w 1103795"/>
                  <a:gd name="connsiteY129" fmla="*/ 54917 h 86420"/>
                  <a:gd name="connsiteX130" fmla="*/ 554567 w 1103795"/>
                  <a:gd name="connsiteY130" fmla="*/ 23636 h 86420"/>
                  <a:gd name="connsiteX131" fmla="*/ 582006 w 1103795"/>
                  <a:gd name="connsiteY131" fmla="*/ 57052 h 86420"/>
                  <a:gd name="connsiteX132" fmla="*/ 582006 w 1103795"/>
                  <a:gd name="connsiteY132" fmla="*/ 59755 h 86420"/>
                  <a:gd name="connsiteX133" fmla="*/ 542474 w 1103795"/>
                  <a:gd name="connsiteY133" fmla="*/ 59755 h 86420"/>
                  <a:gd name="connsiteX134" fmla="*/ 556343 w 1103795"/>
                  <a:gd name="connsiteY134" fmla="*/ 73483 h 86420"/>
                  <a:gd name="connsiteX135" fmla="*/ 574046 w 1103795"/>
                  <a:gd name="connsiteY135" fmla="*/ 66283 h 86420"/>
                  <a:gd name="connsiteX136" fmla="*/ 580993 w 1103795"/>
                  <a:gd name="connsiteY136" fmla="*/ 77082 h 86420"/>
                  <a:gd name="connsiteX137" fmla="*/ 555004 w 1103795"/>
                  <a:gd name="connsiteY137" fmla="*/ 86083 h 86420"/>
                  <a:gd name="connsiteX138" fmla="*/ 524557 w 1103795"/>
                  <a:gd name="connsiteY138" fmla="*/ 54917 h 86420"/>
                  <a:gd name="connsiteX139" fmla="*/ 464187 w 1103795"/>
                  <a:gd name="connsiteY139" fmla="*/ 55007 h 86420"/>
                  <a:gd name="connsiteX140" fmla="*/ 494220 w 1103795"/>
                  <a:gd name="connsiteY140" fmla="*/ 23813 h 86420"/>
                  <a:gd name="connsiteX141" fmla="*/ 520136 w 1103795"/>
                  <a:gd name="connsiteY141" fmla="*/ 42101 h 86420"/>
                  <a:gd name="connsiteX142" fmla="*/ 505051 w 1103795"/>
                  <a:gd name="connsiteY142" fmla="*/ 47156 h 86420"/>
                  <a:gd name="connsiteX143" fmla="*/ 494004 w 1103795"/>
                  <a:gd name="connsiteY143" fmla="*/ 37054 h 86420"/>
                  <a:gd name="connsiteX144" fmla="*/ 482164 w 1103795"/>
                  <a:gd name="connsiteY144" fmla="*/ 55122 h 86420"/>
                  <a:gd name="connsiteX145" fmla="*/ 493786 w 1103795"/>
                  <a:gd name="connsiteY145" fmla="*/ 73410 h 86420"/>
                  <a:gd name="connsiteX146" fmla="*/ 505488 w 1103795"/>
                  <a:gd name="connsiteY146" fmla="*/ 62747 h 86420"/>
                  <a:gd name="connsiteX147" fmla="*/ 520354 w 1103795"/>
                  <a:gd name="connsiteY147" fmla="*/ 67910 h 86420"/>
                  <a:gd name="connsiteX148" fmla="*/ 493432 w 1103795"/>
                  <a:gd name="connsiteY148" fmla="*/ 86086 h 86420"/>
                  <a:gd name="connsiteX149" fmla="*/ 464187 w 1103795"/>
                  <a:gd name="connsiteY149" fmla="*/ 55007 h 86420"/>
                  <a:gd name="connsiteX150" fmla="*/ 401988 w 1103795"/>
                  <a:gd name="connsiteY150" fmla="*/ 54917 h 86420"/>
                  <a:gd name="connsiteX151" fmla="*/ 432106 w 1103795"/>
                  <a:gd name="connsiteY151" fmla="*/ 23636 h 86420"/>
                  <a:gd name="connsiteX152" fmla="*/ 458096 w 1103795"/>
                  <a:gd name="connsiteY152" fmla="*/ 41976 h 86420"/>
                  <a:gd name="connsiteX153" fmla="*/ 442993 w 1103795"/>
                  <a:gd name="connsiteY153" fmla="*/ 47041 h 86420"/>
                  <a:gd name="connsiteX154" fmla="*/ 431888 w 1103795"/>
                  <a:gd name="connsiteY154" fmla="*/ 36914 h 86420"/>
                  <a:gd name="connsiteX155" fmla="*/ 420013 w 1103795"/>
                  <a:gd name="connsiteY155" fmla="*/ 55032 h 86420"/>
                  <a:gd name="connsiteX156" fmla="*/ 431670 w 1103795"/>
                  <a:gd name="connsiteY156" fmla="*/ 73372 h 86420"/>
                  <a:gd name="connsiteX157" fmla="*/ 443433 w 1103795"/>
                  <a:gd name="connsiteY157" fmla="*/ 62681 h 86420"/>
                  <a:gd name="connsiteX158" fmla="*/ 458314 w 1103795"/>
                  <a:gd name="connsiteY158" fmla="*/ 67854 h 86420"/>
                  <a:gd name="connsiteX159" fmla="*/ 431340 w 1103795"/>
                  <a:gd name="connsiteY159" fmla="*/ 86083 h 86420"/>
                  <a:gd name="connsiteX160" fmla="*/ 401988 w 1103795"/>
                  <a:gd name="connsiteY160" fmla="*/ 54917 h 86420"/>
                  <a:gd name="connsiteX161" fmla="*/ 336269 w 1103795"/>
                  <a:gd name="connsiteY161" fmla="*/ 68648 h 86420"/>
                  <a:gd name="connsiteX162" fmla="*/ 336269 w 1103795"/>
                  <a:gd name="connsiteY162" fmla="*/ 24872 h 86420"/>
                  <a:gd name="connsiteX163" fmla="*/ 354298 w 1103795"/>
                  <a:gd name="connsiteY163" fmla="*/ 24872 h 86420"/>
                  <a:gd name="connsiteX164" fmla="*/ 354298 w 1103795"/>
                  <a:gd name="connsiteY164" fmla="*/ 63354 h 86420"/>
                  <a:gd name="connsiteX165" fmla="*/ 361354 w 1103795"/>
                  <a:gd name="connsiteY165" fmla="*/ 71682 h 86420"/>
                  <a:gd name="connsiteX166" fmla="*/ 374351 w 1103795"/>
                  <a:gd name="connsiteY166" fmla="*/ 65611 h 86420"/>
                  <a:gd name="connsiteX167" fmla="*/ 374351 w 1103795"/>
                  <a:gd name="connsiteY167" fmla="*/ 24872 h 86420"/>
                  <a:gd name="connsiteX168" fmla="*/ 392380 w 1103795"/>
                  <a:gd name="connsiteY168" fmla="*/ 24872 h 86420"/>
                  <a:gd name="connsiteX169" fmla="*/ 392380 w 1103795"/>
                  <a:gd name="connsiteY169" fmla="*/ 84850 h 86420"/>
                  <a:gd name="connsiteX170" fmla="*/ 374351 w 1103795"/>
                  <a:gd name="connsiteY170" fmla="*/ 84850 h 86420"/>
                  <a:gd name="connsiteX171" fmla="*/ 374351 w 1103795"/>
                  <a:gd name="connsiteY171" fmla="*/ 75511 h 86420"/>
                  <a:gd name="connsiteX172" fmla="*/ 353751 w 1103795"/>
                  <a:gd name="connsiteY172" fmla="*/ 86083 h 86420"/>
                  <a:gd name="connsiteX173" fmla="*/ 336269 w 1103795"/>
                  <a:gd name="connsiteY173" fmla="*/ 68648 h 86420"/>
                  <a:gd name="connsiteX174" fmla="*/ 259023 w 1103795"/>
                  <a:gd name="connsiteY174" fmla="*/ 65945 h 86420"/>
                  <a:gd name="connsiteX175" fmla="*/ 272811 w 1103795"/>
                  <a:gd name="connsiteY175" fmla="*/ 57735 h 86420"/>
                  <a:gd name="connsiteX176" fmla="*/ 295188 w 1103795"/>
                  <a:gd name="connsiteY176" fmla="*/ 71909 h 86420"/>
                  <a:gd name="connsiteX177" fmla="*/ 309635 w 1103795"/>
                  <a:gd name="connsiteY177" fmla="*/ 62343 h 86420"/>
                  <a:gd name="connsiteX178" fmla="*/ 292837 w 1103795"/>
                  <a:gd name="connsiteY178" fmla="*/ 50305 h 86420"/>
                  <a:gd name="connsiteX179" fmla="*/ 262608 w 1103795"/>
                  <a:gd name="connsiteY179" fmla="*/ 24872 h 86420"/>
                  <a:gd name="connsiteX180" fmla="*/ 292508 w 1103795"/>
                  <a:gd name="connsiteY180" fmla="*/ 4 h 86420"/>
                  <a:gd name="connsiteX181" fmla="*/ 325448 w 1103795"/>
                  <a:gd name="connsiteY181" fmla="*/ 17108 h 86420"/>
                  <a:gd name="connsiteX182" fmla="*/ 312780 w 1103795"/>
                  <a:gd name="connsiteY182" fmla="*/ 26785 h 86420"/>
                  <a:gd name="connsiteX183" fmla="*/ 292396 w 1103795"/>
                  <a:gd name="connsiteY183" fmla="*/ 14972 h 86420"/>
                  <a:gd name="connsiteX184" fmla="*/ 280415 w 1103795"/>
                  <a:gd name="connsiteY184" fmla="*/ 23301 h 86420"/>
                  <a:gd name="connsiteX185" fmla="*/ 297431 w 1103795"/>
                  <a:gd name="connsiteY185" fmla="*/ 35340 h 86420"/>
                  <a:gd name="connsiteX186" fmla="*/ 327445 w 1103795"/>
                  <a:gd name="connsiteY186" fmla="*/ 61110 h 86420"/>
                  <a:gd name="connsiteX187" fmla="*/ 294314 w 1103795"/>
                  <a:gd name="connsiteY187" fmla="*/ 86424 h 86420"/>
                  <a:gd name="connsiteX188" fmla="*/ 259023 w 1103795"/>
                  <a:gd name="connsiteY188" fmla="*/ 65945 h 86420"/>
                  <a:gd name="connsiteX189" fmla="*/ 175150 w 1103795"/>
                  <a:gd name="connsiteY189" fmla="*/ 41077 h 86420"/>
                  <a:gd name="connsiteX190" fmla="*/ 187569 w 1103795"/>
                  <a:gd name="connsiteY190" fmla="*/ 41077 h 86420"/>
                  <a:gd name="connsiteX191" fmla="*/ 203137 w 1103795"/>
                  <a:gd name="connsiteY191" fmla="*/ 28700 h 86420"/>
                  <a:gd name="connsiteX192" fmla="*/ 187569 w 1103795"/>
                  <a:gd name="connsiteY192" fmla="*/ 16547 h 86420"/>
                  <a:gd name="connsiteX193" fmla="*/ 175150 w 1103795"/>
                  <a:gd name="connsiteY193" fmla="*/ 16547 h 86420"/>
                  <a:gd name="connsiteX194" fmla="*/ 175150 w 1103795"/>
                  <a:gd name="connsiteY194" fmla="*/ 41077 h 86420"/>
                  <a:gd name="connsiteX195" fmla="*/ 156986 w 1103795"/>
                  <a:gd name="connsiteY195" fmla="*/ 84850 h 86420"/>
                  <a:gd name="connsiteX196" fmla="*/ 156986 w 1103795"/>
                  <a:gd name="connsiteY196" fmla="*/ 1579 h 86420"/>
                  <a:gd name="connsiteX197" fmla="*/ 187133 w 1103795"/>
                  <a:gd name="connsiteY197" fmla="*/ 1579 h 86420"/>
                  <a:gd name="connsiteX198" fmla="*/ 220947 w 1103795"/>
                  <a:gd name="connsiteY198" fmla="*/ 28248 h 86420"/>
                  <a:gd name="connsiteX199" fmla="*/ 186886 w 1103795"/>
                  <a:gd name="connsiteY199" fmla="*/ 55255 h 86420"/>
                  <a:gd name="connsiteX200" fmla="*/ 175150 w 1103795"/>
                  <a:gd name="connsiteY200" fmla="*/ 55255 h 86420"/>
                  <a:gd name="connsiteX201" fmla="*/ 175150 w 1103795"/>
                  <a:gd name="connsiteY201" fmla="*/ 84850 h 86420"/>
                  <a:gd name="connsiteX202" fmla="*/ 156986 w 1103795"/>
                  <a:gd name="connsiteY202" fmla="*/ 84850 h 86420"/>
                  <a:gd name="connsiteX203" fmla="*/ 99419 w 1103795"/>
                  <a:gd name="connsiteY203" fmla="*/ 53004 h 86420"/>
                  <a:gd name="connsiteX204" fmla="*/ 118924 w 1103795"/>
                  <a:gd name="connsiteY204" fmla="*/ 53004 h 86420"/>
                  <a:gd name="connsiteX205" fmla="*/ 109404 w 1103795"/>
                  <a:gd name="connsiteY205" fmla="*/ 24646 h 86420"/>
                  <a:gd name="connsiteX206" fmla="*/ 109186 w 1103795"/>
                  <a:gd name="connsiteY206" fmla="*/ 24646 h 86420"/>
                  <a:gd name="connsiteX207" fmla="*/ 99419 w 1103795"/>
                  <a:gd name="connsiteY207" fmla="*/ 53004 h 86420"/>
                  <a:gd name="connsiteX208" fmla="*/ 71758 w 1103795"/>
                  <a:gd name="connsiteY208" fmla="*/ 84850 h 86420"/>
                  <a:gd name="connsiteX209" fmla="*/ 101114 w 1103795"/>
                  <a:gd name="connsiteY209" fmla="*/ 1241 h 86420"/>
                  <a:gd name="connsiteX210" fmla="*/ 118460 w 1103795"/>
                  <a:gd name="connsiteY210" fmla="*/ 1241 h 86420"/>
                  <a:gd name="connsiteX211" fmla="*/ 147813 w 1103795"/>
                  <a:gd name="connsiteY211" fmla="*/ 84850 h 86420"/>
                  <a:gd name="connsiteX212" fmla="*/ 129346 w 1103795"/>
                  <a:gd name="connsiteY212" fmla="*/ 84850 h 86420"/>
                  <a:gd name="connsiteX213" fmla="*/ 123165 w 1103795"/>
                  <a:gd name="connsiteY213" fmla="*/ 66283 h 86420"/>
                  <a:gd name="connsiteX214" fmla="*/ 94960 w 1103795"/>
                  <a:gd name="connsiteY214" fmla="*/ 66283 h 86420"/>
                  <a:gd name="connsiteX215" fmla="*/ 88556 w 1103795"/>
                  <a:gd name="connsiteY215" fmla="*/ 84850 h 86420"/>
                  <a:gd name="connsiteX216" fmla="*/ 71758 w 1103795"/>
                  <a:gd name="connsiteY216" fmla="*/ 84850 h 86420"/>
                  <a:gd name="connsiteX217" fmla="*/ 0 w 1103795"/>
                  <a:gd name="connsiteY217" fmla="*/ 65945 h 86420"/>
                  <a:gd name="connsiteX218" fmla="*/ 13789 w 1103795"/>
                  <a:gd name="connsiteY218" fmla="*/ 57735 h 86420"/>
                  <a:gd name="connsiteX219" fmla="*/ 36165 w 1103795"/>
                  <a:gd name="connsiteY219" fmla="*/ 71909 h 86420"/>
                  <a:gd name="connsiteX220" fmla="*/ 50613 w 1103795"/>
                  <a:gd name="connsiteY220" fmla="*/ 62343 h 86420"/>
                  <a:gd name="connsiteX221" fmla="*/ 33814 w 1103795"/>
                  <a:gd name="connsiteY221" fmla="*/ 50305 h 86420"/>
                  <a:gd name="connsiteX222" fmla="*/ 3585 w 1103795"/>
                  <a:gd name="connsiteY222" fmla="*/ 24872 h 86420"/>
                  <a:gd name="connsiteX223" fmla="*/ 33485 w 1103795"/>
                  <a:gd name="connsiteY223" fmla="*/ 4 h 86420"/>
                  <a:gd name="connsiteX224" fmla="*/ 66426 w 1103795"/>
                  <a:gd name="connsiteY224" fmla="*/ 17108 h 86420"/>
                  <a:gd name="connsiteX225" fmla="*/ 53757 w 1103795"/>
                  <a:gd name="connsiteY225" fmla="*/ 26785 h 86420"/>
                  <a:gd name="connsiteX226" fmla="*/ 33378 w 1103795"/>
                  <a:gd name="connsiteY226" fmla="*/ 14972 h 86420"/>
                  <a:gd name="connsiteX227" fmla="*/ 21395 w 1103795"/>
                  <a:gd name="connsiteY227" fmla="*/ 23301 h 86420"/>
                  <a:gd name="connsiteX228" fmla="*/ 38412 w 1103795"/>
                  <a:gd name="connsiteY228" fmla="*/ 35340 h 86420"/>
                  <a:gd name="connsiteX229" fmla="*/ 68423 w 1103795"/>
                  <a:gd name="connsiteY229" fmla="*/ 61110 h 86420"/>
                  <a:gd name="connsiteX230" fmla="*/ 35291 w 1103795"/>
                  <a:gd name="connsiteY230" fmla="*/ 86424 h 86420"/>
                  <a:gd name="connsiteX231" fmla="*/ 0 w 1103795"/>
                  <a:gd name="connsiteY231" fmla="*/ 65945 h 8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103795" h="86420">
                    <a:moveTo>
                      <a:pt x="1049570" y="76859"/>
                    </a:moveTo>
                    <a:lnTo>
                      <a:pt x="1056733" y="66736"/>
                    </a:lnTo>
                    <a:cubicBezTo>
                      <a:pt x="1062124" y="71456"/>
                      <a:pt x="1070192" y="74501"/>
                      <a:pt x="1077469" y="74501"/>
                    </a:cubicBezTo>
                    <a:cubicBezTo>
                      <a:pt x="1083050" y="74501"/>
                      <a:pt x="1086994" y="72581"/>
                      <a:pt x="1086994" y="68648"/>
                    </a:cubicBezTo>
                    <a:cubicBezTo>
                      <a:pt x="1086994" y="64482"/>
                      <a:pt x="1083851" y="62908"/>
                      <a:pt x="1075659" y="61441"/>
                    </a:cubicBezTo>
                    <a:cubicBezTo>
                      <a:pt x="1064372" y="59417"/>
                      <a:pt x="1052275" y="56718"/>
                      <a:pt x="1052275" y="42652"/>
                    </a:cubicBezTo>
                    <a:cubicBezTo>
                      <a:pt x="1052275" y="30609"/>
                      <a:pt x="1062124" y="23636"/>
                      <a:pt x="1075449" y="23636"/>
                    </a:cubicBezTo>
                    <a:cubicBezTo>
                      <a:pt x="1087651" y="23636"/>
                      <a:pt x="1095033" y="26785"/>
                      <a:pt x="1101653" y="32076"/>
                    </a:cubicBezTo>
                    <a:lnTo>
                      <a:pt x="1094595" y="42314"/>
                    </a:lnTo>
                    <a:cubicBezTo>
                      <a:pt x="1088546" y="38151"/>
                      <a:pt x="1082612" y="35786"/>
                      <a:pt x="1077002" y="35786"/>
                    </a:cubicBezTo>
                    <a:cubicBezTo>
                      <a:pt x="1071868" y="35786"/>
                      <a:pt x="1068963" y="37813"/>
                      <a:pt x="1068963" y="41077"/>
                    </a:cubicBezTo>
                    <a:cubicBezTo>
                      <a:pt x="1068963" y="44679"/>
                      <a:pt x="1072192" y="46142"/>
                      <a:pt x="1079574" y="47494"/>
                    </a:cubicBezTo>
                    <a:cubicBezTo>
                      <a:pt x="1091347" y="49514"/>
                      <a:pt x="1103796" y="52217"/>
                      <a:pt x="1103796" y="65837"/>
                    </a:cubicBezTo>
                    <a:cubicBezTo>
                      <a:pt x="1103796" y="80349"/>
                      <a:pt x="1091232" y="86083"/>
                      <a:pt x="1077469" y="86083"/>
                    </a:cubicBezTo>
                    <a:cubicBezTo>
                      <a:pt x="1064372" y="86083"/>
                      <a:pt x="1055609" y="82035"/>
                      <a:pt x="1049570" y="76859"/>
                    </a:cubicBezTo>
                    <a:close/>
                    <a:moveTo>
                      <a:pt x="1008146" y="84850"/>
                    </a:moveTo>
                    <a:lnTo>
                      <a:pt x="1008146" y="24872"/>
                    </a:lnTo>
                    <a:lnTo>
                      <a:pt x="1026177" y="24872"/>
                    </a:lnTo>
                    <a:lnTo>
                      <a:pt x="1026177" y="34891"/>
                    </a:lnTo>
                    <a:lnTo>
                      <a:pt x="1026281" y="34891"/>
                    </a:lnTo>
                    <a:cubicBezTo>
                      <a:pt x="1029539" y="29829"/>
                      <a:pt x="1035254" y="23636"/>
                      <a:pt x="1046446" y="23636"/>
                    </a:cubicBezTo>
                    <a:lnTo>
                      <a:pt x="1046998" y="23636"/>
                    </a:lnTo>
                    <a:lnTo>
                      <a:pt x="1046779" y="39729"/>
                    </a:lnTo>
                    <a:cubicBezTo>
                      <a:pt x="1046122" y="39614"/>
                      <a:pt x="1043198" y="39388"/>
                      <a:pt x="1042074" y="39388"/>
                    </a:cubicBezTo>
                    <a:cubicBezTo>
                      <a:pt x="1034902" y="39388"/>
                      <a:pt x="1029539" y="43212"/>
                      <a:pt x="1026177" y="47609"/>
                    </a:cubicBezTo>
                    <a:lnTo>
                      <a:pt x="1026177" y="84850"/>
                    </a:lnTo>
                    <a:lnTo>
                      <a:pt x="1008146" y="84850"/>
                    </a:lnTo>
                    <a:close/>
                    <a:moveTo>
                      <a:pt x="979695" y="55032"/>
                    </a:moveTo>
                    <a:cubicBezTo>
                      <a:pt x="979695" y="45013"/>
                      <a:pt x="976227" y="36914"/>
                      <a:pt x="967274" y="36914"/>
                    </a:cubicBezTo>
                    <a:cubicBezTo>
                      <a:pt x="958654" y="36914"/>
                      <a:pt x="954720" y="44230"/>
                      <a:pt x="954720" y="55032"/>
                    </a:cubicBezTo>
                    <a:cubicBezTo>
                      <a:pt x="954720" y="65043"/>
                      <a:pt x="958082" y="73372"/>
                      <a:pt x="967274" y="73372"/>
                    </a:cubicBezTo>
                    <a:cubicBezTo>
                      <a:pt x="975789" y="73372"/>
                      <a:pt x="979695" y="65945"/>
                      <a:pt x="979695" y="55032"/>
                    </a:cubicBezTo>
                    <a:close/>
                    <a:moveTo>
                      <a:pt x="936689" y="54917"/>
                    </a:moveTo>
                    <a:cubicBezTo>
                      <a:pt x="936689" y="31400"/>
                      <a:pt x="952720" y="23636"/>
                      <a:pt x="967274" y="23636"/>
                    </a:cubicBezTo>
                    <a:cubicBezTo>
                      <a:pt x="981723" y="23636"/>
                      <a:pt x="997725" y="31400"/>
                      <a:pt x="997725" y="54917"/>
                    </a:cubicBezTo>
                    <a:cubicBezTo>
                      <a:pt x="997725" y="78214"/>
                      <a:pt x="981723" y="86083"/>
                      <a:pt x="967274" y="86083"/>
                    </a:cubicBezTo>
                    <a:cubicBezTo>
                      <a:pt x="952834" y="86083"/>
                      <a:pt x="936689" y="78214"/>
                      <a:pt x="936689" y="54917"/>
                    </a:cubicBezTo>
                    <a:close/>
                    <a:moveTo>
                      <a:pt x="898065" y="67973"/>
                    </a:moveTo>
                    <a:lnTo>
                      <a:pt x="898065" y="38040"/>
                    </a:lnTo>
                    <a:lnTo>
                      <a:pt x="888105" y="38040"/>
                    </a:lnTo>
                    <a:lnTo>
                      <a:pt x="888105" y="24872"/>
                    </a:lnTo>
                    <a:lnTo>
                      <a:pt x="898065" y="24872"/>
                    </a:lnTo>
                    <a:lnTo>
                      <a:pt x="898065" y="4285"/>
                    </a:lnTo>
                    <a:lnTo>
                      <a:pt x="915984" y="4285"/>
                    </a:lnTo>
                    <a:lnTo>
                      <a:pt x="915984" y="24872"/>
                    </a:lnTo>
                    <a:lnTo>
                      <a:pt x="931329" y="24872"/>
                    </a:lnTo>
                    <a:lnTo>
                      <a:pt x="931329" y="38040"/>
                    </a:lnTo>
                    <a:lnTo>
                      <a:pt x="915984" y="38040"/>
                    </a:lnTo>
                    <a:lnTo>
                      <a:pt x="915984" y="64033"/>
                    </a:lnTo>
                    <a:cubicBezTo>
                      <a:pt x="915984" y="70446"/>
                      <a:pt x="917786" y="72473"/>
                      <a:pt x="924270" y="72473"/>
                    </a:cubicBezTo>
                    <a:cubicBezTo>
                      <a:pt x="926295" y="72473"/>
                      <a:pt x="928978" y="72247"/>
                      <a:pt x="930208" y="71794"/>
                    </a:cubicBezTo>
                    <a:lnTo>
                      <a:pt x="930208" y="84738"/>
                    </a:lnTo>
                    <a:cubicBezTo>
                      <a:pt x="928867" y="85073"/>
                      <a:pt x="922273" y="85641"/>
                      <a:pt x="918334" y="85641"/>
                    </a:cubicBezTo>
                    <a:cubicBezTo>
                      <a:pt x="900662" y="85641"/>
                      <a:pt x="898065" y="79221"/>
                      <a:pt x="898065" y="67973"/>
                    </a:cubicBezTo>
                    <a:close/>
                    <a:moveTo>
                      <a:pt x="827864" y="54917"/>
                    </a:moveTo>
                    <a:cubicBezTo>
                      <a:pt x="827864" y="30947"/>
                      <a:pt x="844773" y="23636"/>
                      <a:pt x="857982" y="23636"/>
                    </a:cubicBezTo>
                    <a:cubicBezTo>
                      <a:pt x="874237" y="23636"/>
                      <a:pt x="880497" y="32299"/>
                      <a:pt x="883972" y="41976"/>
                    </a:cubicBezTo>
                    <a:lnTo>
                      <a:pt x="868845" y="47041"/>
                    </a:lnTo>
                    <a:cubicBezTo>
                      <a:pt x="866491" y="39388"/>
                      <a:pt x="863017" y="36914"/>
                      <a:pt x="857768" y="36914"/>
                    </a:cubicBezTo>
                    <a:cubicBezTo>
                      <a:pt x="850490" y="36914"/>
                      <a:pt x="845893" y="43104"/>
                      <a:pt x="845893" y="55032"/>
                    </a:cubicBezTo>
                    <a:cubicBezTo>
                      <a:pt x="845893" y="65719"/>
                      <a:pt x="849259" y="73372"/>
                      <a:pt x="857546" y="73372"/>
                    </a:cubicBezTo>
                    <a:cubicBezTo>
                      <a:pt x="862362" y="73372"/>
                      <a:pt x="866713" y="70784"/>
                      <a:pt x="869286" y="62681"/>
                    </a:cubicBezTo>
                    <a:lnTo>
                      <a:pt x="884194" y="67854"/>
                    </a:lnTo>
                    <a:cubicBezTo>
                      <a:pt x="880391" y="77197"/>
                      <a:pt x="873002" y="86083"/>
                      <a:pt x="857192" y="86083"/>
                    </a:cubicBezTo>
                    <a:cubicBezTo>
                      <a:pt x="843209" y="86083"/>
                      <a:pt x="827864" y="78214"/>
                      <a:pt x="827864" y="54917"/>
                    </a:cubicBezTo>
                    <a:close/>
                    <a:moveTo>
                      <a:pt x="800426" y="66956"/>
                    </a:moveTo>
                    <a:lnTo>
                      <a:pt x="800426" y="55815"/>
                    </a:lnTo>
                    <a:cubicBezTo>
                      <a:pt x="786196" y="57282"/>
                      <a:pt x="780153" y="60880"/>
                      <a:pt x="780153" y="66391"/>
                    </a:cubicBezTo>
                    <a:cubicBezTo>
                      <a:pt x="780153" y="70219"/>
                      <a:pt x="782834" y="72139"/>
                      <a:pt x="786744" y="72139"/>
                    </a:cubicBezTo>
                    <a:cubicBezTo>
                      <a:pt x="793037" y="72139"/>
                      <a:pt x="797388" y="69993"/>
                      <a:pt x="800426" y="66956"/>
                    </a:cubicBezTo>
                    <a:close/>
                    <a:moveTo>
                      <a:pt x="762562" y="69544"/>
                    </a:moveTo>
                    <a:cubicBezTo>
                      <a:pt x="762562" y="55708"/>
                      <a:pt x="774215" y="48051"/>
                      <a:pt x="800426" y="45912"/>
                    </a:cubicBezTo>
                    <a:lnTo>
                      <a:pt x="800426" y="44449"/>
                    </a:lnTo>
                    <a:cubicBezTo>
                      <a:pt x="800426" y="40067"/>
                      <a:pt x="798179" y="37249"/>
                      <a:pt x="792354" y="37249"/>
                    </a:cubicBezTo>
                    <a:cubicBezTo>
                      <a:pt x="784747" y="37249"/>
                      <a:pt x="778236" y="40401"/>
                      <a:pt x="772765" y="44679"/>
                    </a:cubicBezTo>
                    <a:lnTo>
                      <a:pt x="765134" y="34330"/>
                    </a:lnTo>
                    <a:cubicBezTo>
                      <a:pt x="771070" y="28927"/>
                      <a:pt x="780042" y="23636"/>
                      <a:pt x="794927" y="23636"/>
                    </a:cubicBezTo>
                    <a:cubicBezTo>
                      <a:pt x="811284" y="23636"/>
                      <a:pt x="818014" y="31738"/>
                      <a:pt x="818014" y="47152"/>
                    </a:cubicBezTo>
                    <a:lnTo>
                      <a:pt x="818014" y="70219"/>
                    </a:lnTo>
                    <a:cubicBezTo>
                      <a:pt x="818014" y="77420"/>
                      <a:pt x="818454" y="81812"/>
                      <a:pt x="819681" y="84850"/>
                    </a:cubicBezTo>
                    <a:lnTo>
                      <a:pt x="801764" y="84850"/>
                    </a:lnTo>
                    <a:cubicBezTo>
                      <a:pt x="800973" y="82377"/>
                      <a:pt x="800426" y="79447"/>
                      <a:pt x="800426" y="76072"/>
                    </a:cubicBezTo>
                    <a:cubicBezTo>
                      <a:pt x="794927" y="82258"/>
                      <a:pt x="788443" y="85749"/>
                      <a:pt x="779578" y="85749"/>
                    </a:cubicBezTo>
                    <a:cubicBezTo>
                      <a:pt x="770410" y="85749"/>
                      <a:pt x="762562" y="79785"/>
                      <a:pt x="762562" y="69544"/>
                    </a:cubicBezTo>
                    <a:close/>
                    <a:moveTo>
                      <a:pt x="711917" y="84850"/>
                    </a:moveTo>
                    <a:lnTo>
                      <a:pt x="711917" y="1579"/>
                    </a:lnTo>
                    <a:lnTo>
                      <a:pt x="766687" y="1579"/>
                    </a:lnTo>
                    <a:lnTo>
                      <a:pt x="766687" y="16888"/>
                    </a:lnTo>
                    <a:lnTo>
                      <a:pt x="730165" y="16888"/>
                    </a:lnTo>
                    <a:lnTo>
                      <a:pt x="730165" y="37141"/>
                    </a:lnTo>
                    <a:lnTo>
                      <a:pt x="756154" y="37141"/>
                    </a:lnTo>
                    <a:lnTo>
                      <a:pt x="756154" y="51653"/>
                    </a:lnTo>
                    <a:lnTo>
                      <a:pt x="730165" y="51653"/>
                    </a:lnTo>
                    <a:lnTo>
                      <a:pt x="730165" y="84850"/>
                    </a:lnTo>
                    <a:lnTo>
                      <a:pt x="711917" y="84850"/>
                    </a:lnTo>
                    <a:close/>
                    <a:moveTo>
                      <a:pt x="646775" y="76859"/>
                    </a:moveTo>
                    <a:lnTo>
                      <a:pt x="653941" y="66736"/>
                    </a:lnTo>
                    <a:cubicBezTo>
                      <a:pt x="659305" y="71456"/>
                      <a:pt x="667376" y="74501"/>
                      <a:pt x="674650" y="74501"/>
                    </a:cubicBezTo>
                    <a:cubicBezTo>
                      <a:pt x="680256" y="74501"/>
                      <a:pt x="684170" y="72581"/>
                      <a:pt x="684170" y="68648"/>
                    </a:cubicBezTo>
                    <a:cubicBezTo>
                      <a:pt x="684170" y="64482"/>
                      <a:pt x="681026" y="62908"/>
                      <a:pt x="672874" y="61441"/>
                    </a:cubicBezTo>
                    <a:cubicBezTo>
                      <a:pt x="661548" y="59417"/>
                      <a:pt x="649454" y="56718"/>
                      <a:pt x="649454" y="42652"/>
                    </a:cubicBezTo>
                    <a:cubicBezTo>
                      <a:pt x="649454" y="30609"/>
                      <a:pt x="659305" y="23636"/>
                      <a:pt x="672625" y="23636"/>
                    </a:cubicBezTo>
                    <a:cubicBezTo>
                      <a:pt x="684857" y="23636"/>
                      <a:pt x="692242" y="26785"/>
                      <a:pt x="698837" y="32076"/>
                    </a:cubicBezTo>
                    <a:lnTo>
                      <a:pt x="691778" y="42314"/>
                    </a:lnTo>
                    <a:cubicBezTo>
                      <a:pt x="685731" y="38151"/>
                      <a:pt x="679795" y="35786"/>
                      <a:pt x="674213" y="35786"/>
                    </a:cubicBezTo>
                    <a:cubicBezTo>
                      <a:pt x="669043" y="35786"/>
                      <a:pt x="666142" y="37813"/>
                      <a:pt x="666142" y="41077"/>
                    </a:cubicBezTo>
                    <a:cubicBezTo>
                      <a:pt x="666142" y="44679"/>
                      <a:pt x="669398" y="46142"/>
                      <a:pt x="676785" y="47494"/>
                    </a:cubicBezTo>
                    <a:cubicBezTo>
                      <a:pt x="688550" y="49514"/>
                      <a:pt x="700968" y="52217"/>
                      <a:pt x="700968" y="65837"/>
                    </a:cubicBezTo>
                    <a:cubicBezTo>
                      <a:pt x="700968" y="80349"/>
                      <a:pt x="688438" y="86083"/>
                      <a:pt x="674650" y="86083"/>
                    </a:cubicBezTo>
                    <a:cubicBezTo>
                      <a:pt x="661548" y="86083"/>
                      <a:pt x="652818" y="82035"/>
                      <a:pt x="646775" y="76859"/>
                    </a:cubicBezTo>
                    <a:close/>
                    <a:moveTo>
                      <a:pt x="586929" y="76859"/>
                    </a:moveTo>
                    <a:lnTo>
                      <a:pt x="594099" y="66736"/>
                    </a:lnTo>
                    <a:cubicBezTo>
                      <a:pt x="599459" y="71456"/>
                      <a:pt x="607531" y="74501"/>
                      <a:pt x="614808" y="74501"/>
                    </a:cubicBezTo>
                    <a:cubicBezTo>
                      <a:pt x="620418" y="74501"/>
                      <a:pt x="624328" y="72581"/>
                      <a:pt x="624328" y="68648"/>
                    </a:cubicBezTo>
                    <a:cubicBezTo>
                      <a:pt x="624328" y="64482"/>
                      <a:pt x="621180" y="62908"/>
                      <a:pt x="613030" y="61441"/>
                    </a:cubicBezTo>
                    <a:cubicBezTo>
                      <a:pt x="601703" y="59417"/>
                      <a:pt x="589610" y="56718"/>
                      <a:pt x="589610" y="42652"/>
                    </a:cubicBezTo>
                    <a:cubicBezTo>
                      <a:pt x="589610" y="30609"/>
                      <a:pt x="599459" y="23636"/>
                      <a:pt x="612783" y="23636"/>
                    </a:cubicBezTo>
                    <a:cubicBezTo>
                      <a:pt x="625011" y="23636"/>
                      <a:pt x="632397" y="26785"/>
                      <a:pt x="638991" y="32076"/>
                    </a:cubicBezTo>
                    <a:lnTo>
                      <a:pt x="631932" y="42314"/>
                    </a:lnTo>
                    <a:cubicBezTo>
                      <a:pt x="625888" y="38151"/>
                      <a:pt x="619950" y="35786"/>
                      <a:pt x="614371" y="35786"/>
                    </a:cubicBezTo>
                    <a:cubicBezTo>
                      <a:pt x="609198" y="35786"/>
                      <a:pt x="606296" y="37813"/>
                      <a:pt x="606296" y="41077"/>
                    </a:cubicBezTo>
                    <a:cubicBezTo>
                      <a:pt x="606296" y="44679"/>
                      <a:pt x="609555" y="46142"/>
                      <a:pt x="616941" y="47494"/>
                    </a:cubicBezTo>
                    <a:cubicBezTo>
                      <a:pt x="628704" y="49514"/>
                      <a:pt x="641127" y="52217"/>
                      <a:pt x="641127" y="65837"/>
                    </a:cubicBezTo>
                    <a:cubicBezTo>
                      <a:pt x="641127" y="80349"/>
                      <a:pt x="628596" y="86083"/>
                      <a:pt x="614808" y="86083"/>
                    </a:cubicBezTo>
                    <a:cubicBezTo>
                      <a:pt x="601703" y="86083"/>
                      <a:pt x="592976" y="82035"/>
                      <a:pt x="586929" y="76859"/>
                    </a:cubicBezTo>
                    <a:close/>
                    <a:moveTo>
                      <a:pt x="565863" y="49068"/>
                    </a:moveTo>
                    <a:cubicBezTo>
                      <a:pt x="564989" y="40631"/>
                      <a:pt x="561158" y="36576"/>
                      <a:pt x="554457" y="36576"/>
                    </a:cubicBezTo>
                    <a:cubicBezTo>
                      <a:pt x="548850" y="36576"/>
                      <a:pt x="544031" y="40293"/>
                      <a:pt x="542692" y="49068"/>
                    </a:cubicBezTo>
                    <a:lnTo>
                      <a:pt x="565863" y="49068"/>
                    </a:lnTo>
                    <a:close/>
                    <a:moveTo>
                      <a:pt x="524557" y="54917"/>
                    </a:moveTo>
                    <a:cubicBezTo>
                      <a:pt x="524557" y="31630"/>
                      <a:pt x="542256" y="23636"/>
                      <a:pt x="554567" y="23636"/>
                    </a:cubicBezTo>
                    <a:cubicBezTo>
                      <a:pt x="566875" y="23636"/>
                      <a:pt x="582006" y="29829"/>
                      <a:pt x="582006" y="57052"/>
                    </a:cubicBezTo>
                    <a:lnTo>
                      <a:pt x="582006" y="59755"/>
                    </a:lnTo>
                    <a:lnTo>
                      <a:pt x="542474" y="59755"/>
                    </a:lnTo>
                    <a:cubicBezTo>
                      <a:pt x="543351" y="69655"/>
                      <a:pt x="548850" y="73483"/>
                      <a:pt x="556343" y="73483"/>
                    </a:cubicBezTo>
                    <a:cubicBezTo>
                      <a:pt x="563402" y="73483"/>
                      <a:pt x="570023" y="69993"/>
                      <a:pt x="574046" y="66283"/>
                    </a:cubicBezTo>
                    <a:lnTo>
                      <a:pt x="580993" y="77082"/>
                    </a:lnTo>
                    <a:cubicBezTo>
                      <a:pt x="574046" y="83045"/>
                      <a:pt x="565427" y="86083"/>
                      <a:pt x="555004" y="86083"/>
                    </a:cubicBezTo>
                    <a:cubicBezTo>
                      <a:pt x="539437" y="86083"/>
                      <a:pt x="524557" y="78099"/>
                      <a:pt x="524557" y="54917"/>
                    </a:cubicBezTo>
                    <a:close/>
                    <a:moveTo>
                      <a:pt x="464187" y="55007"/>
                    </a:moveTo>
                    <a:cubicBezTo>
                      <a:pt x="464187" y="31108"/>
                      <a:pt x="481045" y="23813"/>
                      <a:pt x="494220" y="23813"/>
                    </a:cubicBezTo>
                    <a:cubicBezTo>
                      <a:pt x="510428" y="23813"/>
                      <a:pt x="516672" y="32456"/>
                      <a:pt x="520136" y="42101"/>
                    </a:cubicBezTo>
                    <a:lnTo>
                      <a:pt x="505051" y="47156"/>
                    </a:lnTo>
                    <a:cubicBezTo>
                      <a:pt x="502706" y="39520"/>
                      <a:pt x="499239" y="37054"/>
                      <a:pt x="494004" y="37054"/>
                    </a:cubicBezTo>
                    <a:cubicBezTo>
                      <a:pt x="486747" y="37054"/>
                      <a:pt x="482164" y="43226"/>
                      <a:pt x="482164" y="55122"/>
                    </a:cubicBezTo>
                    <a:cubicBezTo>
                      <a:pt x="482164" y="65778"/>
                      <a:pt x="485517" y="73410"/>
                      <a:pt x="493786" y="73410"/>
                    </a:cubicBezTo>
                    <a:cubicBezTo>
                      <a:pt x="498588" y="73410"/>
                      <a:pt x="502925" y="70829"/>
                      <a:pt x="505488" y="62747"/>
                    </a:cubicBezTo>
                    <a:lnTo>
                      <a:pt x="520354" y="67910"/>
                    </a:lnTo>
                    <a:cubicBezTo>
                      <a:pt x="516564" y="77221"/>
                      <a:pt x="509197" y="86086"/>
                      <a:pt x="493432" y="86086"/>
                    </a:cubicBezTo>
                    <a:cubicBezTo>
                      <a:pt x="479491" y="86086"/>
                      <a:pt x="464187" y="78235"/>
                      <a:pt x="464187" y="55007"/>
                    </a:cubicBezTo>
                    <a:close/>
                    <a:moveTo>
                      <a:pt x="401988" y="54917"/>
                    </a:moveTo>
                    <a:cubicBezTo>
                      <a:pt x="401988" y="30947"/>
                      <a:pt x="418893" y="23636"/>
                      <a:pt x="432106" y="23636"/>
                    </a:cubicBezTo>
                    <a:cubicBezTo>
                      <a:pt x="448357" y="23636"/>
                      <a:pt x="454621" y="32299"/>
                      <a:pt x="458096" y="41976"/>
                    </a:cubicBezTo>
                    <a:lnTo>
                      <a:pt x="442993" y="47041"/>
                    </a:lnTo>
                    <a:cubicBezTo>
                      <a:pt x="440642" y="39388"/>
                      <a:pt x="437169" y="36914"/>
                      <a:pt x="431888" y="36914"/>
                    </a:cubicBezTo>
                    <a:cubicBezTo>
                      <a:pt x="424611" y="36914"/>
                      <a:pt x="420013" y="43104"/>
                      <a:pt x="420013" y="55032"/>
                    </a:cubicBezTo>
                    <a:cubicBezTo>
                      <a:pt x="420013" y="65719"/>
                      <a:pt x="423379" y="73372"/>
                      <a:pt x="431670" y="73372"/>
                    </a:cubicBezTo>
                    <a:cubicBezTo>
                      <a:pt x="436486" y="73372"/>
                      <a:pt x="440861" y="70784"/>
                      <a:pt x="443433" y="62681"/>
                    </a:cubicBezTo>
                    <a:lnTo>
                      <a:pt x="458314" y="67854"/>
                    </a:lnTo>
                    <a:cubicBezTo>
                      <a:pt x="454515" y="77197"/>
                      <a:pt x="447126" y="86083"/>
                      <a:pt x="431340" y="86083"/>
                    </a:cubicBezTo>
                    <a:cubicBezTo>
                      <a:pt x="417333" y="86083"/>
                      <a:pt x="401988" y="78214"/>
                      <a:pt x="401988" y="54917"/>
                    </a:cubicBezTo>
                    <a:close/>
                    <a:moveTo>
                      <a:pt x="336269" y="68648"/>
                    </a:moveTo>
                    <a:lnTo>
                      <a:pt x="336269" y="24872"/>
                    </a:lnTo>
                    <a:lnTo>
                      <a:pt x="354298" y="24872"/>
                    </a:lnTo>
                    <a:lnTo>
                      <a:pt x="354298" y="63354"/>
                    </a:lnTo>
                    <a:cubicBezTo>
                      <a:pt x="354298" y="68756"/>
                      <a:pt x="356322" y="71682"/>
                      <a:pt x="361354" y="71682"/>
                    </a:cubicBezTo>
                    <a:cubicBezTo>
                      <a:pt x="366169" y="71682"/>
                      <a:pt x="370302" y="69098"/>
                      <a:pt x="374351" y="65611"/>
                    </a:cubicBezTo>
                    <a:lnTo>
                      <a:pt x="374351" y="24872"/>
                    </a:lnTo>
                    <a:lnTo>
                      <a:pt x="392380" y="24872"/>
                    </a:lnTo>
                    <a:lnTo>
                      <a:pt x="392380" y="84850"/>
                    </a:lnTo>
                    <a:lnTo>
                      <a:pt x="374351" y="84850"/>
                    </a:lnTo>
                    <a:lnTo>
                      <a:pt x="374351" y="75511"/>
                    </a:lnTo>
                    <a:cubicBezTo>
                      <a:pt x="370767" y="80123"/>
                      <a:pt x="364148" y="86083"/>
                      <a:pt x="353751" y="86083"/>
                    </a:cubicBezTo>
                    <a:cubicBezTo>
                      <a:pt x="343546" y="86083"/>
                      <a:pt x="336269" y="81022"/>
                      <a:pt x="336269" y="68648"/>
                    </a:cubicBezTo>
                    <a:close/>
                    <a:moveTo>
                      <a:pt x="259023" y="65945"/>
                    </a:moveTo>
                    <a:lnTo>
                      <a:pt x="272811" y="57735"/>
                    </a:lnTo>
                    <a:cubicBezTo>
                      <a:pt x="277377" y="66844"/>
                      <a:pt x="285667" y="71909"/>
                      <a:pt x="295188" y="71909"/>
                    </a:cubicBezTo>
                    <a:cubicBezTo>
                      <a:pt x="303585" y="71909"/>
                      <a:pt x="309635" y="68756"/>
                      <a:pt x="309635" y="62343"/>
                    </a:cubicBezTo>
                    <a:cubicBezTo>
                      <a:pt x="309635" y="56042"/>
                      <a:pt x="303723" y="53342"/>
                      <a:pt x="292837" y="50305"/>
                    </a:cubicBezTo>
                    <a:cubicBezTo>
                      <a:pt x="278064" y="46142"/>
                      <a:pt x="262608" y="42314"/>
                      <a:pt x="262608" y="24872"/>
                    </a:cubicBezTo>
                    <a:cubicBezTo>
                      <a:pt x="262608" y="9343"/>
                      <a:pt x="274697" y="4"/>
                      <a:pt x="292508" y="4"/>
                    </a:cubicBezTo>
                    <a:cubicBezTo>
                      <a:pt x="309524" y="4"/>
                      <a:pt x="319621" y="8221"/>
                      <a:pt x="325448" y="17108"/>
                    </a:cubicBezTo>
                    <a:lnTo>
                      <a:pt x="312780" y="26785"/>
                    </a:lnTo>
                    <a:cubicBezTo>
                      <a:pt x="308404" y="19699"/>
                      <a:pt x="300468" y="14972"/>
                      <a:pt x="292396" y="14972"/>
                    </a:cubicBezTo>
                    <a:cubicBezTo>
                      <a:pt x="284682" y="14972"/>
                      <a:pt x="280415" y="18344"/>
                      <a:pt x="280415" y="23301"/>
                    </a:cubicBezTo>
                    <a:cubicBezTo>
                      <a:pt x="280415" y="29937"/>
                      <a:pt x="286572" y="32299"/>
                      <a:pt x="297431" y="35340"/>
                    </a:cubicBezTo>
                    <a:cubicBezTo>
                      <a:pt x="311985" y="39276"/>
                      <a:pt x="327445" y="43895"/>
                      <a:pt x="327445" y="61110"/>
                    </a:cubicBezTo>
                    <a:cubicBezTo>
                      <a:pt x="327445" y="74501"/>
                      <a:pt x="317374" y="86424"/>
                      <a:pt x="294314" y="86424"/>
                    </a:cubicBezTo>
                    <a:cubicBezTo>
                      <a:pt x="276392" y="86424"/>
                      <a:pt x="265177" y="77873"/>
                      <a:pt x="259023" y="65945"/>
                    </a:cubicBezTo>
                    <a:close/>
                    <a:moveTo>
                      <a:pt x="175150" y="41077"/>
                    </a:moveTo>
                    <a:lnTo>
                      <a:pt x="187569" y="41077"/>
                    </a:lnTo>
                    <a:cubicBezTo>
                      <a:pt x="198868" y="41077"/>
                      <a:pt x="203137" y="36691"/>
                      <a:pt x="203137" y="28700"/>
                    </a:cubicBezTo>
                    <a:cubicBezTo>
                      <a:pt x="203137" y="20936"/>
                      <a:pt x="199007" y="16547"/>
                      <a:pt x="187569" y="16547"/>
                    </a:cubicBezTo>
                    <a:lnTo>
                      <a:pt x="175150" y="16547"/>
                    </a:lnTo>
                    <a:lnTo>
                      <a:pt x="175150" y="41077"/>
                    </a:lnTo>
                    <a:close/>
                    <a:moveTo>
                      <a:pt x="156986" y="84850"/>
                    </a:moveTo>
                    <a:lnTo>
                      <a:pt x="156986" y="1579"/>
                    </a:lnTo>
                    <a:lnTo>
                      <a:pt x="187133" y="1579"/>
                    </a:lnTo>
                    <a:cubicBezTo>
                      <a:pt x="204808" y="1579"/>
                      <a:pt x="220947" y="6306"/>
                      <a:pt x="220947" y="28248"/>
                    </a:cubicBezTo>
                    <a:cubicBezTo>
                      <a:pt x="220947" y="50643"/>
                      <a:pt x="203466" y="55255"/>
                      <a:pt x="186886" y="55255"/>
                    </a:cubicBezTo>
                    <a:lnTo>
                      <a:pt x="175150" y="55255"/>
                    </a:lnTo>
                    <a:lnTo>
                      <a:pt x="175150" y="84850"/>
                    </a:lnTo>
                    <a:lnTo>
                      <a:pt x="156986" y="84850"/>
                    </a:lnTo>
                    <a:close/>
                    <a:moveTo>
                      <a:pt x="99419" y="53004"/>
                    </a:moveTo>
                    <a:lnTo>
                      <a:pt x="118924" y="53004"/>
                    </a:lnTo>
                    <a:lnTo>
                      <a:pt x="109404" y="24646"/>
                    </a:lnTo>
                    <a:lnTo>
                      <a:pt x="109186" y="24646"/>
                    </a:lnTo>
                    <a:lnTo>
                      <a:pt x="99419" y="53004"/>
                    </a:lnTo>
                    <a:close/>
                    <a:moveTo>
                      <a:pt x="71758" y="84850"/>
                    </a:moveTo>
                    <a:lnTo>
                      <a:pt x="101114" y="1241"/>
                    </a:lnTo>
                    <a:lnTo>
                      <a:pt x="118460" y="1241"/>
                    </a:lnTo>
                    <a:lnTo>
                      <a:pt x="147813" y="84850"/>
                    </a:lnTo>
                    <a:lnTo>
                      <a:pt x="129346" y="84850"/>
                    </a:lnTo>
                    <a:lnTo>
                      <a:pt x="123165" y="66283"/>
                    </a:lnTo>
                    <a:lnTo>
                      <a:pt x="94960" y="66283"/>
                    </a:lnTo>
                    <a:lnTo>
                      <a:pt x="88556" y="84850"/>
                    </a:lnTo>
                    <a:lnTo>
                      <a:pt x="71758" y="84850"/>
                    </a:lnTo>
                    <a:close/>
                    <a:moveTo>
                      <a:pt x="0" y="65945"/>
                    </a:moveTo>
                    <a:lnTo>
                      <a:pt x="13789" y="57735"/>
                    </a:lnTo>
                    <a:cubicBezTo>
                      <a:pt x="18358" y="66844"/>
                      <a:pt x="26645" y="71909"/>
                      <a:pt x="36165" y="71909"/>
                    </a:cubicBezTo>
                    <a:cubicBezTo>
                      <a:pt x="44566" y="71909"/>
                      <a:pt x="50613" y="68756"/>
                      <a:pt x="50613" y="62343"/>
                    </a:cubicBezTo>
                    <a:cubicBezTo>
                      <a:pt x="50613" y="56042"/>
                      <a:pt x="44701" y="53342"/>
                      <a:pt x="33814" y="50305"/>
                    </a:cubicBezTo>
                    <a:cubicBezTo>
                      <a:pt x="19041" y="46142"/>
                      <a:pt x="3585" y="42314"/>
                      <a:pt x="3585" y="24872"/>
                    </a:cubicBezTo>
                    <a:cubicBezTo>
                      <a:pt x="3585" y="9343"/>
                      <a:pt x="15675" y="4"/>
                      <a:pt x="33485" y="4"/>
                    </a:cubicBezTo>
                    <a:cubicBezTo>
                      <a:pt x="50502" y="4"/>
                      <a:pt x="60598" y="8221"/>
                      <a:pt x="66426" y="17108"/>
                    </a:cubicBezTo>
                    <a:lnTo>
                      <a:pt x="53757" y="26785"/>
                    </a:lnTo>
                    <a:cubicBezTo>
                      <a:pt x="49382" y="19699"/>
                      <a:pt x="41446" y="14972"/>
                      <a:pt x="33378" y="14972"/>
                    </a:cubicBezTo>
                    <a:cubicBezTo>
                      <a:pt x="25663" y="14972"/>
                      <a:pt x="21395" y="18344"/>
                      <a:pt x="21395" y="23301"/>
                    </a:cubicBezTo>
                    <a:cubicBezTo>
                      <a:pt x="21395" y="29937"/>
                      <a:pt x="27549" y="32299"/>
                      <a:pt x="38412" y="35340"/>
                    </a:cubicBezTo>
                    <a:cubicBezTo>
                      <a:pt x="52967" y="39276"/>
                      <a:pt x="68423" y="43895"/>
                      <a:pt x="68423" y="61110"/>
                    </a:cubicBezTo>
                    <a:cubicBezTo>
                      <a:pt x="68423" y="74501"/>
                      <a:pt x="58355" y="86424"/>
                      <a:pt x="35291" y="86424"/>
                    </a:cubicBezTo>
                    <a:cubicBezTo>
                      <a:pt x="17374" y="86424"/>
                      <a:pt x="6158" y="77873"/>
                      <a:pt x="0" y="65945"/>
                    </a:cubicBezTo>
                    <a:close/>
                  </a:path>
                </a:pathLst>
              </a:custGeom>
              <a:solidFill>
                <a:srgbClr val="2978C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8" name="TextBox 167">
              <a:extLst>
                <a:ext uri="{FF2B5EF4-FFF2-40B4-BE49-F238E27FC236}">
                  <a16:creationId xmlns:a16="http://schemas.microsoft.com/office/drawing/2014/main" id="{14A4CB6A-EFE5-06DC-83B0-FECE997CE7D7}"/>
                </a:ext>
              </a:extLst>
            </p:cNvPr>
            <p:cNvSpPr txBox="1"/>
            <p:nvPr/>
          </p:nvSpPr>
          <p:spPr>
            <a:xfrm>
              <a:off x="1004804" y="3126537"/>
              <a:ext cx="1452542" cy="193899"/>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HR Systems</a:t>
              </a:r>
            </a:p>
          </p:txBody>
        </p:sp>
        <p:grpSp>
          <p:nvGrpSpPr>
            <p:cNvPr id="169" name="Group 168">
              <a:extLst>
                <a:ext uri="{FF2B5EF4-FFF2-40B4-BE49-F238E27FC236}">
                  <a16:creationId xmlns:a16="http://schemas.microsoft.com/office/drawing/2014/main" id="{7DE72BE5-86F4-3147-45B5-6C8DA7A9CC45}"/>
                </a:ext>
              </a:extLst>
            </p:cNvPr>
            <p:cNvGrpSpPr/>
            <p:nvPr/>
          </p:nvGrpSpPr>
          <p:grpSpPr>
            <a:xfrm>
              <a:off x="1481031" y="2699920"/>
              <a:ext cx="474114" cy="474114"/>
              <a:chOff x="4666001" y="1869145"/>
              <a:chExt cx="618634" cy="618634"/>
            </a:xfrm>
          </p:grpSpPr>
          <p:grpSp>
            <p:nvGrpSpPr>
              <p:cNvPr id="170" name="Group 169">
                <a:extLst>
                  <a:ext uri="{FF2B5EF4-FFF2-40B4-BE49-F238E27FC236}">
                    <a16:creationId xmlns:a16="http://schemas.microsoft.com/office/drawing/2014/main" id="{E1B219CE-B54E-61A3-1A76-53A0553580B2}"/>
                  </a:ext>
                </a:extLst>
              </p:cNvPr>
              <p:cNvGrpSpPr/>
              <p:nvPr/>
            </p:nvGrpSpPr>
            <p:grpSpPr>
              <a:xfrm>
                <a:off x="4745610" y="1899102"/>
                <a:ext cx="443871" cy="411738"/>
                <a:chOff x="4745610" y="1899102"/>
                <a:chExt cx="443871" cy="411738"/>
              </a:xfrm>
            </p:grpSpPr>
            <p:sp>
              <p:nvSpPr>
                <p:cNvPr id="177" name="Freeform: Shape 176">
                  <a:extLst>
                    <a:ext uri="{FF2B5EF4-FFF2-40B4-BE49-F238E27FC236}">
                      <a16:creationId xmlns:a16="http://schemas.microsoft.com/office/drawing/2014/main" id="{9DEBBDB4-97DA-8A29-336F-4E7C640C1BC4}"/>
                    </a:ext>
                  </a:extLst>
                </p:cNvPr>
                <p:cNvSpPr/>
                <p:nvPr/>
              </p:nvSpPr>
              <p:spPr>
                <a:xfrm>
                  <a:off x="4923583" y="1899102"/>
                  <a:ext cx="258542" cy="172946"/>
                </a:xfrm>
                <a:custGeom>
                  <a:avLst/>
                  <a:gdLst>
                    <a:gd name="connsiteX0" fmla="*/ 27887 w 258542"/>
                    <a:gd name="connsiteY0" fmla="*/ 610 h 172946"/>
                    <a:gd name="connsiteX1" fmla="*/ 258542 w 258542"/>
                    <a:gd name="connsiteY1" fmla="*/ 162122 h 172946"/>
                    <a:gd name="connsiteX2" fmla="*/ 191940 w 258542"/>
                    <a:gd name="connsiteY2" fmla="*/ 172946 h 172946"/>
                    <a:gd name="connsiteX3" fmla="*/ 44200 w 258542"/>
                    <a:gd name="connsiteY3" fmla="*/ 66883 h 172946"/>
                    <a:gd name="connsiteX4" fmla="*/ 13312 w 258542"/>
                    <a:gd name="connsiteY4" fmla="*/ 70785 h 172946"/>
                    <a:gd name="connsiteX5" fmla="*/ 0 w 258542"/>
                    <a:gd name="connsiteY5" fmla="*/ 5558 h 17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542" h="172946">
                      <a:moveTo>
                        <a:pt x="27887" y="610"/>
                      </a:moveTo>
                      <a:cubicBezTo>
                        <a:pt x="131229" y="-7077"/>
                        <a:pt x="229193" y="58533"/>
                        <a:pt x="258542" y="162122"/>
                      </a:cubicBezTo>
                      <a:lnTo>
                        <a:pt x="191940" y="172946"/>
                      </a:lnTo>
                      <a:cubicBezTo>
                        <a:pt x="170493" y="109598"/>
                        <a:pt x="111080" y="66946"/>
                        <a:pt x="44200" y="66883"/>
                      </a:cubicBezTo>
                      <a:lnTo>
                        <a:pt x="13312" y="70785"/>
                      </a:lnTo>
                      <a:lnTo>
                        <a:pt x="0" y="5558"/>
                      </a:lnTo>
                      <a:close/>
                    </a:path>
                  </a:pathLst>
                </a:custGeom>
                <a:gradFill flip="none" rotWithShape="1">
                  <a:gsLst>
                    <a:gs pos="0">
                      <a:srgbClr val="0078D4">
                        <a:shade val="30000"/>
                        <a:satMod val="115000"/>
                      </a:srgbClr>
                    </a:gs>
                    <a:gs pos="50000">
                      <a:srgbClr val="0078D4">
                        <a:shade val="67500"/>
                        <a:satMod val="115000"/>
                      </a:srgbClr>
                    </a:gs>
                    <a:gs pos="100000">
                      <a:srgbClr val="0078D4">
                        <a:shade val="100000"/>
                        <a:satMod val="115000"/>
                      </a:srgbClr>
                    </a:gs>
                  </a:gsLst>
                  <a:lin ang="2700000" scaled="1"/>
                  <a:tileRect/>
                </a:gradFill>
                <a:ln w="4497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44D14AD6-4DA0-BB66-99BA-FFEFD57AED71}"/>
                    </a:ext>
                  </a:extLst>
                </p:cNvPr>
                <p:cNvSpPr/>
                <p:nvPr/>
              </p:nvSpPr>
              <p:spPr>
                <a:xfrm>
                  <a:off x="4745610" y="1915172"/>
                  <a:ext cx="443871" cy="395668"/>
                </a:xfrm>
                <a:custGeom>
                  <a:avLst/>
                  <a:gdLst>
                    <a:gd name="connsiteX0" fmla="*/ 312042 w 443871"/>
                    <a:gd name="connsiteY0" fmla="*/ 331400 h 395668"/>
                    <a:gd name="connsiteX1" fmla="*/ 312066 w 443871"/>
                    <a:gd name="connsiteY1" fmla="*/ 331518 h 395668"/>
                    <a:gd name="connsiteX2" fmla="*/ 311962 w 443871"/>
                    <a:gd name="connsiteY2" fmla="*/ 331454 h 395668"/>
                    <a:gd name="connsiteX3" fmla="*/ 433124 w 443871"/>
                    <a:gd name="connsiteY3" fmla="*/ 133417 h 395668"/>
                    <a:gd name="connsiteX4" fmla="*/ 443871 w 443871"/>
                    <a:gd name="connsiteY4" fmla="*/ 188136 h 395668"/>
                    <a:gd name="connsiteX5" fmla="*/ 423206 w 443871"/>
                    <a:gd name="connsiteY5" fmla="*/ 183964 h 395668"/>
                    <a:gd name="connsiteX6" fmla="*/ 377565 w 443871"/>
                    <a:gd name="connsiteY6" fmla="*/ 193179 h 395668"/>
                    <a:gd name="connsiteX7" fmla="*/ 376462 w 443871"/>
                    <a:gd name="connsiteY7" fmla="*/ 193922 h 395668"/>
                    <a:gd name="connsiteX8" fmla="*/ 369736 w 443871"/>
                    <a:gd name="connsiteY8" fmla="*/ 154973 h 395668"/>
                    <a:gd name="connsiteX9" fmla="*/ 135772 w 443871"/>
                    <a:gd name="connsiteY9" fmla="*/ 120 h 395668"/>
                    <a:gd name="connsiteX10" fmla="*/ 146223 w 443871"/>
                    <a:gd name="connsiteY10" fmla="*/ 7607 h 395668"/>
                    <a:gd name="connsiteX11" fmla="*/ 163723 w 443871"/>
                    <a:gd name="connsiteY11" fmla="*/ 114014 h 395668"/>
                    <a:gd name="connsiteX12" fmla="*/ 163100 w 443871"/>
                    <a:gd name="connsiteY12" fmla="*/ 116809 h 395668"/>
                    <a:gd name="connsiteX13" fmla="*/ 157484 w 443871"/>
                    <a:gd name="connsiteY13" fmla="*/ 117976 h 395668"/>
                    <a:gd name="connsiteX14" fmla="*/ 121766 w 443871"/>
                    <a:gd name="connsiteY14" fmla="*/ 92396 h 395668"/>
                    <a:gd name="connsiteX15" fmla="*/ 119395 w 443871"/>
                    <a:gd name="connsiteY15" fmla="*/ 90711 h 395668"/>
                    <a:gd name="connsiteX16" fmla="*/ 115464 w 443871"/>
                    <a:gd name="connsiteY16" fmla="*/ 90337 h 395668"/>
                    <a:gd name="connsiteX17" fmla="*/ 99524 w 443871"/>
                    <a:gd name="connsiteY17" fmla="*/ 111299 h 395668"/>
                    <a:gd name="connsiteX18" fmla="*/ 66708 w 443871"/>
                    <a:gd name="connsiteY18" fmla="*/ 207386 h 395668"/>
                    <a:gd name="connsiteX19" fmla="*/ 112659 w 443871"/>
                    <a:gd name="connsiteY19" fmla="*/ 317568 h 395668"/>
                    <a:gd name="connsiteX20" fmla="*/ 140110 w 443871"/>
                    <a:gd name="connsiteY20" fmla="*/ 335980 h 395668"/>
                    <a:gd name="connsiteX21" fmla="*/ 138487 w 443871"/>
                    <a:gd name="connsiteY21" fmla="*/ 336974 h 395668"/>
                    <a:gd name="connsiteX22" fmla="*/ 110833 w 443871"/>
                    <a:gd name="connsiteY22" fmla="*/ 374246 h 395668"/>
                    <a:gd name="connsiteX23" fmla="*/ 106074 w 443871"/>
                    <a:gd name="connsiteY23" fmla="*/ 395668 h 395668"/>
                    <a:gd name="connsiteX24" fmla="*/ 102194 w 443871"/>
                    <a:gd name="connsiteY24" fmla="*/ 393679 h 395668"/>
                    <a:gd name="connsiteX25" fmla="*/ 66950 w 443871"/>
                    <a:gd name="connsiteY25" fmla="*/ 365525 h 395668"/>
                    <a:gd name="connsiteX26" fmla="*/ 63524 w 443871"/>
                    <a:gd name="connsiteY26" fmla="*/ 50594 h 395668"/>
                    <a:gd name="connsiteX27" fmla="*/ 27806 w 443871"/>
                    <a:gd name="connsiteY27" fmla="*/ 25014 h 395668"/>
                    <a:gd name="connsiteX28" fmla="*/ 26163 w 443871"/>
                    <a:gd name="connsiteY28" fmla="*/ 22386 h 395668"/>
                    <a:gd name="connsiteX29" fmla="*/ 29491 w 443871"/>
                    <a:gd name="connsiteY29" fmla="*/ 17714 h 39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871" h="395668">
                      <a:moveTo>
                        <a:pt x="312042" y="331400"/>
                      </a:moveTo>
                      <a:lnTo>
                        <a:pt x="312066" y="331518"/>
                      </a:lnTo>
                      <a:lnTo>
                        <a:pt x="311962" y="331454"/>
                      </a:lnTo>
                      <a:close/>
                      <a:moveTo>
                        <a:pt x="433124" y="133417"/>
                      </a:moveTo>
                      <a:lnTo>
                        <a:pt x="443871" y="188136"/>
                      </a:lnTo>
                      <a:lnTo>
                        <a:pt x="423206" y="183964"/>
                      </a:lnTo>
                      <a:cubicBezTo>
                        <a:pt x="407016" y="183964"/>
                        <a:pt x="391593" y="187245"/>
                        <a:pt x="377565" y="193179"/>
                      </a:cubicBezTo>
                      <a:lnTo>
                        <a:pt x="376462" y="193922"/>
                      </a:lnTo>
                      <a:lnTo>
                        <a:pt x="369736" y="154973"/>
                      </a:lnTo>
                      <a:close/>
                      <a:moveTo>
                        <a:pt x="135772" y="120"/>
                      </a:moveTo>
                      <a:cubicBezTo>
                        <a:pt x="140723" y="-687"/>
                        <a:pt x="145395" y="2660"/>
                        <a:pt x="146223" y="7607"/>
                      </a:cubicBezTo>
                      <a:lnTo>
                        <a:pt x="163723" y="114014"/>
                      </a:lnTo>
                      <a:cubicBezTo>
                        <a:pt x="163862" y="114990"/>
                        <a:pt x="163640" y="115983"/>
                        <a:pt x="163100" y="116809"/>
                      </a:cubicBezTo>
                      <a:cubicBezTo>
                        <a:pt x="161871" y="118681"/>
                        <a:pt x="159357" y="119203"/>
                        <a:pt x="157484" y="117976"/>
                      </a:cubicBezTo>
                      <a:lnTo>
                        <a:pt x="121766" y="92396"/>
                      </a:lnTo>
                      <a:lnTo>
                        <a:pt x="119395" y="90711"/>
                      </a:lnTo>
                      <a:cubicBezTo>
                        <a:pt x="118245" y="89895"/>
                        <a:pt x="116748" y="89753"/>
                        <a:pt x="115464" y="90337"/>
                      </a:cubicBezTo>
                      <a:cubicBezTo>
                        <a:pt x="110411" y="96014"/>
                        <a:pt x="99524" y="111299"/>
                        <a:pt x="99524" y="111299"/>
                      </a:cubicBezTo>
                      <a:cubicBezTo>
                        <a:pt x="78175" y="138772"/>
                        <a:pt x="66623" y="172593"/>
                        <a:pt x="66708" y="207386"/>
                      </a:cubicBezTo>
                      <a:cubicBezTo>
                        <a:pt x="66812" y="250458"/>
                        <a:pt x="84364" y="289410"/>
                        <a:pt x="112659" y="317568"/>
                      </a:cubicBezTo>
                      <a:lnTo>
                        <a:pt x="140110" y="335980"/>
                      </a:lnTo>
                      <a:lnTo>
                        <a:pt x="138487" y="336974"/>
                      </a:lnTo>
                      <a:cubicBezTo>
                        <a:pt x="126811" y="347584"/>
                        <a:pt x="117363" y="360217"/>
                        <a:pt x="110833" y="374246"/>
                      </a:cubicBezTo>
                      <a:lnTo>
                        <a:pt x="106074" y="395668"/>
                      </a:lnTo>
                      <a:lnTo>
                        <a:pt x="102194" y="393679"/>
                      </a:lnTo>
                      <a:cubicBezTo>
                        <a:pt x="89757" y="385661"/>
                        <a:pt x="77939" y="376277"/>
                        <a:pt x="66950" y="365525"/>
                      </a:cubicBezTo>
                      <a:cubicBezTo>
                        <a:pt x="-20962" y="279504"/>
                        <a:pt x="-22495" y="138505"/>
                        <a:pt x="63524" y="50594"/>
                      </a:cubicBezTo>
                      <a:lnTo>
                        <a:pt x="27806" y="25014"/>
                      </a:lnTo>
                      <a:cubicBezTo>
                        <a:pt x="26932" y="24390"/>
                        <a:pt x="26341" y="23445"/>
                        <a:pt x="26163" y="22386"/>
                      </a:cubicBezTo>
                      <a:cubicBezTo>
                        <a:pt x="25793" y="20177"/>
                        <a:pt x="27282" y="18085"/>
                        <a:pt x="29491" y="17714"/>
                      </a:cubicBezTo>
                      <a:close/>
                    </a:path>
                  </a:pathLst>
                </a:custGeom>
                <a:solidFill>
                  <a:srgbClr val="0078D4"/>
                </a:solidFill>
                <a:ln w="4497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1" name="Group 4">
                <a:extLst>
                  <a:ext uri="{FF2B5EF4-FFF2-40B4-BE49-F238E27FC236}">
                    <a16:creationId xmlns:a16="http://schemas.microsoft.com/office/drawing/2014/main" id="{C71D1A42-4B59-BE98-8401-94D3FEC3B2EC}"/>
                  </a:ext>
                </a:extLst>
              </p:cNvPr>
              <p:cNvGrpSpPr>
                <a:grpSpLocks noChangeAspect="1"/>
              </p:cNvGrpSpPr>
              <p:nvPr/>
            </p:nvGrpSpPr>
            <p:grpSpPr bwMode="auto">
              <a:xfrm flipH="1">
                <a:off x="4666001" y="1869145"/>
                <a:ext cx="618634" cy="618634"/>
                <a:chOff x="2615" y="2029"/>
                <a:chExt cx="256" cy="256"/>
              </a:xfrm>
            </p:grpSpPr>
            <p:sp>
              <p:nvSpPr>
                <p:cNvPr id="172" name="AutoShape 3">
                  <a:extLst>
                    <a:ext uri="{FF2B5EF4-FFF2-40B4-BE49-F238E27FC236}">
                      <a16:creationId xmlns:a16="http://schemas.microsoft.com/office/drawing/2014/main" id="{1B24C574-2147-7B53-4A8F-C142A83702E0}"/>
                    </a:ext>
                  </a:extLst>
                </p:cNvPr>
                <p:cNvSpPr>
                  <a:spLocks noChangeAspect="1" noChangeArrowheads="1" noTextEdit="1"/>
                </p:cNvSpPr>
                <p:nvPr/>
              </p:nvSpPr>
              <p:spPr bwMode="auto">
                <a:xfrm>
                  <a:off x="2615" y="2029"/>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5">
                  <a:extLst>
                    <a:ext uri="{FF2B5EF4-FFF2-40B4-BE49-F238E27FC236}">
                      <a16:creationId xmlns:a16="http://schemas.microsoft.com/office/drawing/2014/main" id="{0B129533-E772-EE74-AC1A-ADD219F1AEFD}"/>
                    </a:ext>
                  </a:extLst>
                </p:cNvPr>
                <p:cNvSpPr>
                  <a:spLocks/>
                </p:cNvSpPr>
                <p:nvPr/>
              </p:nvSpPr>
              <p:spPr bwMode="auto">
                <a:xfrm>
                  <a:off x="2701" y="2103"/>
                  <a:ext cx="66" cy="66"/>
                </a:xfrm>
                <a:custGeom>
                  <a:avLst/>
                  <a:gdLst>
                    <a:gd name="T0" fmla="*/ 53 w 106"/>
                    <a:gd name="T1" fmla="*/ 106 h 106"/>
                    <a:gd name="T2" fmla="*/ 53 w 106"/>
                    <a:gd name="T3" fmla="*/ 106 h 106"/>
                    <a:gd name="T4" fmla="*/ 106 w 106"/>
                    <a:gd name="T5" fmla="*/ 53 h 106"/>
                    <a:gd name="T6" fmla="*/ 75 w 106"/>
                    <a:gd name="T7" fmla="*/ 5 h 106"/>
                    <a:gd name="T8" fmla="*/ 53 w 106"/>
                    <a:gd name="T9" fmla="*/ 0 h 106"/>
                    <a:gd name="T10" fmla="*/ 31 w 106"/>
                    <a:gd name="T11" fmla="*/ 5 h 106"/>
                    <a:gd name="T12" fmla="*/ 0 w 106"/>
                    <a:gd name="T13" fmla="*/ 53 h 106"/>
                    <a:gd name="T14" fmla="*/ 53 w 106"/>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53" y="106"/>
                      </a:moveTo>
                      <a:lnTo>
                        <a:pt x="53" y="106"/>
                      </a:lnTo>
                      <a:cubicBezTo>
                        <a:pt x="82" y="106"/>
                        <a:pt x="106" y="83"/>
                        <a:pt x="106" y="53"/>
                      </a:cubicBezTo>
                      <a:cubicBezTo>
                        <a:pt x="106" y="31"/>
                        <a:pt x="93" y="13"/>
                        <a:pt x="75" y="5"/>
                      </a:cubicBezTo>
                      <a:cubicBezTo>
                        <a:pt x="68" y="2"/>
                        <a:pt x="61" y="0"/>
                        <a:pt x="53" y="0"/>
                      </a:cubicBezTo>
                      <a:cubicBezTo>
                        <a:pt x="45" y="0"/>
                        <a:pt x="38" y="2"/>
                        <a:pt x="31" y="5"/>
                      </a:cubicBezTo>
                      <a:cubicBezTo>
                        <a:pt x="13" y="13"/>
                        <a:pt x="0" y="31"/>
                        <a:pt x="0" y="53"/>
                      </a:cubicBezTo>
                      <a:cubicBezTo>
                        <a:pt x="0" y="83"/>
                        <a:pt x="24" y="106"/>
                        <a:pt x="53" y="106"/>
                      </a:cubicBez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6">
                  <a:extLst>
                    <a:ext uri="{FF2B5EF4-FFF2-40B4-BE49-F238E27FC236}">
                      <a16:creationId xmlns:a16="http://schemas.microsoft.com/office/drawing/2014/main" id="{3DD851ED-19B0-9A7D-72AE-B007BC1D4F7F}"/>
                    </a:ext>
                  </a:extLst>
                </p:cNvPr>
                <p:cNvSpPr>
                  <a:spLocks/>
                </p:cNvSpPr>
                <p:nvPr/>
              </p:nvSpPr>
              <p:spPr bwMode="auto">
                <a:xfrm>
                  <a:off x="2685" y="2177"/>
                  <a:ext cx="99" cy="49"/>
                </a:xfrm>
                <a:custGeom>
                  <a:avLst/>
                  <a:gdLst>
                    <a:gd name="T0" fmla="*/ 80 w 160"/>
                    <a:gd name="T1" fmla="*/ 0 h 80"/>
                    <a:gd name="T2" fmla="*/ 80 w 160"/>
                    <a:gd name="T3" fmla="*/ 0 h 80"/>
                    <a:gd name="T4" fmla="*/ 0 w 160"/>
                    <a:gd name="T5" fmla="*/ 80 h 80"/>
                    <a:gd name="T6" fmla="*/ 160 w 160"/>
                    <a:gd name="T7" fmla="*/ 80 h 80"/>
                    <a:gd name="T8" fmla="*/ 80 w 160"/>
                    <a:gd name="T9" fmla="*/ 0 h 80"/>
                  </a:gdLst>
                  <a:ahLst/>
                  <a:cxnLst>
                    <a:cxn ang="0">
                      <a:pos x="T0" y="T1"/>
                    </a:cxn>
                    <a:cxn ang="0">
                      <a:pos x="T2" y="T3"/>
                    </a:cxn>
                    <a:cxn ang="0">
                      <a:pos x="T4" y="T5"/>
                    </a:cxn>
                    <a:cxn ang="0">
                      <a:pos x="T6" y="T7"/>
                    </a:cxn>
                    <a:cxn ang="0">
                      <a:pos x="T8" y="T9"/>
                    </a:cxn>
                  </a:cxnLst>
                  <a:rect l="0" t="0" r="r" b="b"/>
                  <a:pathLst>
                    <a:path w="160" h="80">
                      <a:moveTo>
                        <a:pt x="80" y="0"/>
                      </a:moveTo>
                      <a:lnTo>
                        <a:pt x="80" y="0"/>
                      </a:lnTo>
                      <a:cubicBezTo>
                        <a:pt x="36" y="0"/>
                        <a:pt x="0" y="36"/>
                        <a:pt x="0" y="80"/>
                      </a:cubicBezTo>
                      <a:lnTo>
                        <a:pt x="160" y="80"/>
                      </a:lnTo>
                      <a:cubicBezTo>
                        <a:pt x="160" y="36"/>
                        <a:pt x="124" y="0"/>
                        <a:pt x="80" y="0"/>
                      </a:cubicBez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7">
                  <a:extLst>
                    <a:ext uri="{FF2B5EF4-FFF2-40B4-BE49-F238E27FC236}">
                      <a16:creationId xmlns:a16="http://schemas.microsoft.com/office/drawing/2014/main" id="{A0481582-CAF3-A740-5E13-94419F207FC3}"/>
                    </a:ext>
                  </a:extLst>
                </p:cNvPr>
                <p:cNvSpPr>
                  <a:spLocks/>
                </p:cNvSpPr>
                <p:nvPr/>
              </p:nvSpPr>
              <p:spPr bwMode="auto">
                <a:xfrm>
                  <a:off x="2631" y="2194"/>
                  <a:ext cx="46" cy="32"/>
                </a:xfrm>
                <a:custGeom>
                  <a:avLst/>
                  <a:gdLst>
                    <a:gd name="T0" fmla="*/ 0 w 75"/>
                    <a:gd name="T1" fmla="*/ 53 h 53"/>
                    <a:gd name="T2" fmla="*/ 0 w 75"/>
                    <a:gd name="T3" fmla="*/ 53 h 53"/>
                    <a:gd name="T4" fmla="*/ 63 w 75"/>
                    <a:gd name="T5" fmla="*/ 53 h 53"/>
                    <a:gd name="T6" fmla="*/ 63 w 75"/>
                    <a:gd name="T7" fmla="*/ 53 h 53"/>
                    <a:gd name="T8" fmla="*/ 75 w 75"/>
                    <a:gd name="T9" fmla="*/ 5 h 53"/>
                    <a:gd name="T10" fmla="*/ 54 w 75"/>
                    <a:gd name="T11" fmla="*/ 0 h 53"/>
                    <a:gd name="T12" fmla="*/ 0 w 7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5" h="53">
                      <a:moveTo>
                        <a:pt x="0" y="53"/>
                      </a:moveTo>
                      <a:lnTo>
                        <a:pt x="0" y="53"/>
                      </a:lnTo>
                      <a:lnTo>
                        <a:pt x="63" y="53"/>
                      </a:lnTo>
                      <a:lnTo>
                        <a:pt x="63" y="53"/>
                      </a:lnTo>
                      <a:cubicBezTo>
                        <a:pt x="63" y="36"/>
                        <a:pt x="67" y="19"/>
                        <a:pt x="75" y="5"/>
                      </a:cubicBezTo>
                      <a:cubicBezTo>
                        <a:pt x="68" y="2"/>
                        <a:pt x="61" y="0"/>
                        <a:pt x="54" y="0"/>
                      </a:cubicBezTo>
                      <a:cubicBezTo>
                        <a:pt x="24" y="0"/>
                        <a:pt x="0" y="24"/>
                        <a:pt x="0" y="5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8">
                  <a:extLst>
                    <a:ext uri="{FF2B5EF4-FFF2-40B4-BE49-F238E27FC236}">
                      <a16:creationId xmlns:a16="http://schemas.microsoft.com/office/drawing/2014/main" id="{2CB6FA47-3F1C-12C3-CD69-E4CA1C5FB10A}"/>
                    </a:ext>
                  </a:extLst>
                </p:cNvPr>
                <p:cNvSpPr>
                  <a:spLocks/>
                </p:cNvSpPr>
                <p:nvPr/>
              </p:nvSpPr>
              <p:spPr bwMode="auto">
                <a:xfrm>
                  <a:off x="2639" y="2136"/>
                  <a:ext cx="50" cy="49"/>
                </a:xfrm>
                <a:custGeom>
                  <a:avLst/>
                  <a:gdLst>
                    <a:gd name="T0" fmla="*/ 40 w 80"/>
                    <a:gd name="T1" fmla="*/ 0 h 80"/>
                    <a:gd name="T2" fmla="*/ 40 w 80"/>
                    <a:gd name="T3" fmla="*/ 0 h 80"/>
                    <a:gd name="T4" fmla="*/ 0 w 80"/>
                    <a:gd name="T5" fmla="*/ 40 h 80"/>
                    <a:gd name="T6" fmla="*/ 14 w 80"/>
                    <a:gd name="T7" fmla="*/ 71 h 80"/>
                    <a:gd name="T8" fmla="*/ 37 w 80"/>
                    <a:gd name="T9" fmla="*/ 80 h 80"/>
                    <a:gd name="T10" fmla="*/ 40 w 80"/>
                    <a:gd name="T11" fmla="*/ 80 h 80"/>
                    <a:gd name="T12" fmla="*/ 42 w 80"/>
                    <a:gd name="T13" fmla="*/ 80 h 80"/>
                    <a:gd name="T14" fmla="*/ 65 w 80"/>
                    <a:gd name="T15" fmla="*/ 71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7" y="0"/>
                        <a:pt x="0" y="18"/>
                        <a:pt x="0" y="40"/>
                      </a:cubicBezTo>
                      <a:cubicBezTo>
                        <a:pt x="0" y="53"/>
                        <a:pt x="5" y="63"/>
                        <a:pt x="14" y="71"/>
                      </a:cubicBezTo>
                      <a:cubicBezTo>
                        <a:pt x="20" y="76"/>
                        <a:pt x="28" y="80"/>
                        <a:pt x="37" y="80"/>
                      </a:cubicBezTo>
                      <a:cubicBezTo>
                        <a:pt x="38" y="80"/>
                        <a:pt x="39" y="80"/>
                        <a:pt x="40" y="80"/>
                      </a:cubicBezTo>
                      <a:cubicBezTo>
                        <a:pt x="40" y="80"/>
                        <a:pt x="41" y="80"/>
                        <a:pt x="42" y="80"/>
                      </a:cubicBezTo>
                      <a:cubicBezTo>
                        <a:pt x="51" y="80"/>
                        <a:pt x="59" y="76"/>
                        <a:pt x="65" y="71"/>
                      </a:cubicBezTo>
                      <a:cubicBezTo>
                        <a:pt x="74" y="63"/>
                        <a:pt x="80" y="53"/>
                        <a:pt x="80" y="40"/>
                      </a:cubicBezTo>
                      <a:cubicBezTo>
                        <a:pt x="80" y="18"/>
                        <a:pt x="62" y="0"/>
                        <a:pt x="40"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83" name="Group 182">
            <a:extLst>
              <a:ext uri="{FF2B5EF4-FFF2-40B4-BE49-F238E27FC236}">
                <a16:creationId xmlns:a16="http://schemas.microsoft.com/office/drawing/2014/main" id="{69DB44CE-7F11-7C9C-599C-C6D5460AC201}"/>
              </a:ext>
            </a:extLst>
          </p:cNvPr>
          <p:cNvGrpSpPr/>
          <p:nvPr/>
        </p:nvGrpSpPr>
        <p:grpSpPr>
          <a:xfrm>
            <a:off x="7428582" y="3586319"/>
            <a:ext cx="320040" cy="320040"/>
            <a:chOff x="5951900" y="4858778"/>
            <a:chExt cx="320040" cy="320040"/>
          </a:xfrm>
        </p:grpSpPr>
        <p:sp>
          <p:nvSpPr>
            <p:cNvPr id="184" name="Oval 183">
              <a:extLst>
                <a:ext uri="{FF2B5EF4-FFF2-40B4-BE49-F238E27FC236}">
                  <a16:creationId xmlns:a16="http://schemas.microsoft.com/office/drawing/2014/main" id="{1A501266-3071-8DFC-54DB-E766BA7FBB6C}"/>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AFF1F22C-BADA-D772-A122-83E0A04B6272}"/>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89676AE5-9306-8CCE-51C4-EA804DF90D56}"/>
              </a:ext>
            </a:extLst>
          </p:cNvPr>
          <p:cNvGrpSpPr/>
          <p:nvPr/>
        </p:nvGrpSpPr>
        <p:grpSpPr>
          <a:xfrm>
            <a:off x="9747523" y="3586319"/>
            <a:ext cx="320040" cy="320040"/>
            <a:chOff x="5951900" y="4858778"/>
            <a:chExt cx="320040" cy="320040"/>
          </a:xfrm>
        </p:grpSpPr>
        <p:sp>
          <p:nvSpPr>
            <p:cNvPr id="187" name="Oval 186">
              <a:extLst>
                <a:ext uri="{FF2B5EF4-FFF2-40B4-BE49-F238E27FC236}">
                  <a16:creationId xmlns:a16="http://schemas.microsoft.com/office/drawing/2014/main" id="{5A667D0C-DD6A-AA83-A722-477FF337CB59}"/>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C0B8CE94-3F1E-8BAF-D662-B38C13936697}"/>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9" name="TextBox 188">
            <a:extLst>
              <a:ext uri="{FF2B5EF4-FFF2-40B4-BE49-F238E27FC236}">
                <a16:creationId xmlns:a16="http://schemas.microsoft.com/office/drawing/2014/main" id="{FA30C613-85BA-9BEC-E5CE-82C18B9C4C2E}"/>
              </a:ext>
            </a:extLst>
          </p:cNvPr>
          <p:cNvSpPr txBox="1"/>
          <p:nvPr/>
        </p:nvSpPr>
        <p:spPr>
          <a:xfrm>
            <a:off x="10457509" y="4288661"/>
            <a:ext cx="1428278" cy="193045"/>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a:ln>
                  <a:noFill/>
                </a:ln>
                <a:solidFill>
                  <a:srgbClr val="000000"/>
                </a:solidFill>
                <a:effectLst/>
                <a:uLnTx/>
                <a:uFillTx/>
                <a:latin typeface="Segoe UI Semibold"/>
                <a:ea typeface="+mn-ea"/>
                <a:cs typeface="+mn-cs"/>
              </a:rPr>
              <a:t>Enterprise SaaS apps</a:t>
            </a:r>
            <a:endParaRPr kumimoji="0" lang="en-US" sz="1050" b="0" i="0" u="none" strike="noStrike" kern="1200" cap="none" spc="-5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B62E11DA-D143-9863-EA07-B5E827889010}"/>
              </a:ext>
            </a:extLst>
          </p:cNvPr>
          <p:cNvGrpSpPr/>
          <p:nvPr/>
        </p:nvGrpSpPr>
        <p:grpSpPr>
          <a:xfrm>
            <a:off x="10349308" y="3316979"/>
            <a:ext cx="1590378" cy="860300"/>
            <a:chOff x="10030570" y="1868058"/>
            <a:chExt cx="1521350" cy="822960"/>
          </a:xfrm>
        </p:grpSpPr>
        <p:sp>
          <p:nvSpPr>
            <p:cNvPr id="191" name="Rectangle: Rounded Corners 190">
              <a:extLst>
                <a:ext uri="{FF2B5EF4-FFF2-40B4-BE49-F238E27FC236}">
                  <a16:creationId xmlns:a16="http://schemas.microsoft.com/office/drawing/2014/main" id="{9CA00FBA-1906-ACEE-5EF0-7CDE311ABAAB}"/>
                </a:ext>
              </a:extLst>
            </p:cNvPr>
            <p:cNvSpPr/>
            <p:nvPr/>
          </p:nvSpPr>
          <p:spPr bwMode="auto">
            <a:xfrm>
              <a:off x="10030570" y="1868058"/>
              <a:ext cx="1521350" cy="822960"/>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192" name="Group 4">
              <a:extLst>
                <a:ext uri="{FF2B5EF4-FFF2-40B4-BE49-F238E27FC236}">
                  <a16:creationId xmlns:a16="http://schemas.microsoft.com/office/drawing/2014/main" id="{A19D65F9-C0C9-9BCA-29F7-FC9C0E88FDA0}"/>
                </a:ext>
              </a:extLst>
            </p:cNvPr>
            <p:cNvGrpSpPr>
              <a:grpSpLocks noChangeAspect="1"/>
            </p:cNvGrpSpPr>
            <p:nvPr/>
          </p:nvGrpSpPr>
          <p:grpSpPr bwMode="auto">
            <a:xfrm>
              <a:off x="10321918" y="2093801"/>
              <a:ext cx="495300" cy="371475"/>
              <a:chOff x="5879" y="963"/>
              <a:chExt cx="312" cy="234"/>
            </a:xfrm>
          </p:grpSpPr>
          <p:sp>
            <p:nvSpPr>
              <p:cNvPr id="194" name="AutoShape 3">
                <a:extLst>
                  <a:ext uri="{FF2B5EF4-FFF2-40B4-BE49-F238E27FC236}">
                    <a16:creationId xmlns:a16="http://schemas.microsoft.com/office/drawing/2014/main" id="{C7FC8441-07D7-5577-4B39-C013E0E53F17}"/>
                  </a:ext>
                </a:extLst>
              </p:cNvPr>
              <p:cNvSpPr>
                <a:spLocks noChangeAspect="1" noChangeArrowheads="1" noTextEdit="1"/>
              </p:cNvSpPr>
              <p:nvPr/>
            </p:nvSpPr>
            <p:spPr bwMode="auto">
              <a:xfrm>
                <a:off x="5879" y="963"/>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Rectangle 5">
                <a:extLst>
                  <a:ext uri="{FF2B5EF4-FFF2-40B4-BE49-F238E27FC236}">
                    <a16:creationId xmlns:a16="http://schemas.microsoft.com/office/drawing/2014/main" id="{F44D0064-7649-36A8-BD12-F9660E27D97F}"/>
                  </a:ext>
                </a:extLst>
              </p:cNvPr>
              <p:cNvSpPr>
                <a:spLocks noChangeArrowheads="1"/>
              </p:cNvSpPr>
              <p:nvPr/>
            </p:nvSpPr>
            <p:spPr bwMode="auto">
              <a:xfrm>
                <a:off x="5879" y="963"/>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Rectangle 6">
                <a:extLst>
                  <a:ext uri="{FF2B5EF4-FFF2-40B4-BE49-F238E27FC236}">
                    <a16:creationId xmlns:a16="http://schemas.microsoft.com/office/drawing/2014/main" id="{19C9EC2C-8D8C-7FAB-CE17-C2160AFD6BB2}"/>
                  </a:ext>
                </a:extLst>
              </p:cNvPr>
              <p:cNvSpPr>
                <a:spLocks noChangeArrowheads="1"/>
              </p:cNvSpPr>
              <p:nvPr/>
            </p:nvSpPr>
            <p:spPr bwMode="auto">
              <a:xfrm>
                <a:off x="5879" y="963"/>
                <a:ext cx="312" cy="2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Oval 7">
                <a:extLst>
                  <a:ext uri="{FF2B5EF4-FFF2-40B4-BE49-F238E27FC236}">
                    <a16:creationId xmlns:a16="http://schemas.microsoft.com/office/drawing/2014/main" id="{6836163B-FDCD-2BCF-FD46-F287FA03FE39}"/>
                  </a:ext>
                </a:extLst>
              </p:cNvPr>
              <p:cNvSpPr>
                <a:spLocks noChangeArrowheads="1"/>
              </p:cNvSpPr>
              <p:nvPr/>
            </p:nvSpPr>
            <p:spPr bwMode="auto">
              <a:xfrm>
                <a:off x="5890" y="973"/>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Oval 8">
                <a:extLst>
                  <a:ext uri="{FF2B5EF4-FFF2-40B4-BE49-F238E27FC236}">
                    <a16:creationId xmlns:a16="http://schemas.microsoft.com/office/drawing/2014/main" id="{6CF74F62-698B-4949-6025-1119CAB13923}"/>
                  </a:ext>
                </a:extLst>
              </p:cNvPr>
              <p:cNvSpPr>
                <a:spLocks noChangeArrowheads="1"/>
              </p:cNvSpPr>
              <p:nvPr/>
            </p:nvSpPr>
            <p:spPr bwMode="auto">
              <a:xfrm>
                <a:off x="5904" y="973"/>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9">
                <a:extLst>
                  <a:ext uri="{FF2B5EF4-FFF2-40B4-BE49-F238E27FC236}">
                    <a16:creationId xmlns:a16="http://schemas.microsoft.com/office/drawing/2014/main" id="{D10DD541-F39E-0D12-36E0-8E6D8946B5FB}"/>
                  </a:ext>
                </a:extLst>
              </p:cNvPr>
              <p:cNvSpPr>
                <a:spLocks noChangeArrowheads="1"/>
              </p:cNvSpPr>
              <p:nvPr/>
            </p:nvSpPr>
            <p:spPr bwMode="auto">
              <a:xfrm>
                <a:off x="5919" y="973"/>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Rectangle 10">
                <a:extLst>
                  <a:ext uri="{FF2B5EF4-FFF2-40B4-BE49-F238E27FC236}">
                    <a16:creationId xmlns:a16="http://schemas.microsoft.com/office/drawing/2014/main" id="{42FB8C0E-37D1-96DD-F2EB-6D3E686E09BA}"/>
                  </a:ext>
                </a:extLst>
              </p:cNvPr>
              <p:cNvSpPr>
                <a:spLocks noChangeArrowheads="1"/>
              </p:cNvSpPr>
              <p:nvPr/>
            </p:nvSpPr>
            <p:spPr bwMode="auto">
              <a:xfrm>
                <a:off x="5938" y="1031"/>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Rectangle 11">
                <a:extLst>
                  <a:ext uri="{FF2B5EF4-FFF2-40B4-BE49-F238E27FC236}">
                    <a16:creationId xmlns:a16="http://schemas.microsoft.com/office/drawing/2014/main" id="{1D012F4A-7170-3608-19EA-691C48A98205}"/>
                  </a:ext>
                </a:extLst>
              </p:cNvPr>
              <p:cNvSpPr>
                <a:spLocks noChangeArrowheads="1"/>
              </p:cNvSpPr>
              <p:nvPr/>
            </p:nvSpPr>
            <p:spPr bwMode="auto">
              <a:xfrm>
                <a:off x="6011" y="1031"/>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2" name="Rectangle 12">
                <a:extLst>
                  <a:ext uri="{FF2B5EF4-FFF2-40B4-BE49-F238E27FC236}">
                    <a16:creationId xmlns:a16="http://schemas.microsoft.com/office/drawing/2014/main" id="{94625714-9586-1E09-27D6-15F0D69B5692}"/>
                  </a:ext>
                </a:extLst>
              </p:cNvPr>
              <p:cNvSpPr>
                <a:spLocks noChangeArrowheads="1"/>
              </p:cNvSpPr>
              <p:nvPr/>
            </p:nvSpPr>
            <p:spPr bwMode="auto">
              <a:xfrm>
                <a:off x="6084" y="1031"/>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Rectangle 13">
                <a:extLst>
                  <a:ext uri="{FF2B5EF4-FFF2-40B4-BE49-F238E27FC236}">
                    <a16:creationId xmlns:a16="http://schemas.microsoft.com/office/drawing/2014/main" id="{C15F92BE-AEE4-C66B-06FC-A280D33484DA}"/>
                  </a:ext>
                </a:extLst>
              </p:cNvPr>
              <p:cNvSpPr>
                <a:spLocks noChangeArrowheads="1"/>
              </p:cNvSpPr>
              <p:nvPr/>
            </p:nvSpPr>
            <p:spPr bwMode="auto">
              <a:xfrm>
                <a:off x="5938" y="1109"/>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Rectangle 14">
                <a:extLst>
                  <a:ext uri="{FF2B5EF4-FFF2-40B4-BE49-F238E27FC236}">
                    <a16:creationId xmlns:a16="http://schemas.microsoft.com/office/drawing/2014/main" id="{A2E508F3-A4BD-C315-F165-4D1C9ED0D86F}"/>
                  </a:ext>
                </a:extLst>
              </p:cNvPr>
              <p:cNvSpPr>
                <a:spLocks noChangeArrowheads="1"/>
              </p:cNvSpPr>
              <p:nvPr/>
            </p:nvSpPr>
            <p:spPr bwMode="auto">
              <a:xfrm>
                <a:off x="6011" y="1109"/>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Rectangle 15">
                <a:extLst>
                  <a:ext uri="{FF2B5EF4-FFF2-40B4-BE49-F238E27FC236}">
                    <a16:creationId xmlns:a16="http://schemas.microsoft.com/office/drawing/2014/main" id="{D08EAE85-685F-6AF8-708B-F1CF6F3F653C}"/>
                  </a:ext>
                </a:extLst>
              </p:cNvPr>
              <p:cNvSpPr>
                <a:spLocks noChangeArrowheads="1"/>
              </p:cNvSpPr>
              <p:nvPr/>
            </p:nvSpPr>
            <p:spPr bwMode="auto">
              <a:xfrm>
                <a:off x="6084" y="1109"/>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93" name="Graphic 192">
              <a:extLst>
                <a:ext uri="{FF2B5EF4-FFF2-40B4-BE49-F238E27FC236}">
                  <a16:creationId xmlns:a16="http://schemas.microsoft.com/office/drawing/2014/main" id="{0CF44C79-C01A-8BE5-6E0E-B7D78E05AE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60100" y="2086227"/>
              <a:ext cx="397075" cy="383384"/>
            </a:xfrm>
            <a:prstGeom prst="rect">
              <a:avLst/>
            </a:prstGeom>
          </p:spPr>
        </p:pic>
      </p:grpSp>
      <p:sp>
        <p:nvSpPr>
          <p:cNvPr id="206" name="TextBox 205">
            <a:extLst>
              <a:ext uri="{FF2B5EF4-FFF2-40B4-BE49-F238E27FC236}">
                <a16:creationId xmlns:a16="http://schemas.microsoft.com/office/drawing/2014/main" id="{53360E96-2CD2-CF43-184D-B093753F1476}"/>
              </a:ext>
            </a:extLst>
          </p:cNvPr>
          <p:cNvSpPr txBox="1"/>
          <p:nvPr/>
        </p:nvSpPr>
        <p:spPr>
          <a:xfrm>
            <a:off x="10179245" y="5828384"/>
            <a:ext cx="1930504" cy="387798"/>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 app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non-AD-based)</a:t>
            </a:r>
          </a:p>
        </p:txBody>
      </p:sp>
      <p:sp>
        <p:nvSpPr>
          <p:cNvPr id="207" name="Rectangle: Rounded Corners 206">
            <a:extLst>
              <a:ext uri="{FF2B5EF4-FFF2-40B4-BE49-F238E27FC236}">
                <a16:creationId xmlns:a16="http://schemas.microsoft.com/office/drawing/2014/main" id="{344433B6-6B1E-E113-A1DA-A12AB9FAD5FB}"/>
              </a:ext>
            </a:extLst>
          </p:cNvPr>
          <p:cNvSpPr/>
          <p:nvPr/>
        </p:nvSpPr>
        <p:spPr bwMode="auto">
          <a:xfrm>
            <a:off x="10258677" y="4809002"/>
            <a:ext cx="1717799" cy="929227"/>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208" name="Group 207">
            <a:extLst>
              <a:ext uri="{FF2B5EF4-FFF2-40B4-BE49-F238E27FC236}">
                <a16:creationId xmlns:a16="http://schemas.microsoft.com/office/drawing/2014/main" id="{A9AABECA-669E-EAC8-92A2-8CC0D2DCA1D1}"/>
              </a:ext>
            </a:extLst>
          </p:cNvPr>
          <p:cNvGrpSpPr/>
          <p:nvPr/>
        </p:nvGrpSpPr>
        <p:grpSpPr>
          <a:xfrm>
            <a:off x="10460996" y="4938924"/>
            <a:ext cx="1305353" cy="690504"/>
            <a:chOff x="9632465" y="3861797"/>
            <a:chExt cx="1305353" cy="690504"/>
          </a:xfrm>
        </p:grpSpPr>
        <p:pic>
          <p:nvPicPr>
            <p:cNvPr id="209" name="Picture 208" descr="A picture containing text, electronics&#10;&#10;Description automatically generated">
              <a:extLst>
                <a:ext uri="{FF2B5EF4-FFF2-40B4-BE49-F238E27FC236}">
                  <a16:creationId xmlns:a16="http://schemas.microsoft.com/office/drawing/2014/main" id="{23D8CE3E-258E-1937-4EA9-EF628BFAA5A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39638" y="3915319"/>
              <a:ext cx="491007" cy="636982"/>
            </a:xfrm>
            <a:prstGeom prst="rect">
              <a:avLst/>
            </a:prstGeom>
          </p:spPr>
        </p:pic>
        <p:pic>
          <p:nvPicPr>
            <p:cNvPr id="210" name="Picture 209" descr="A picture containing application&#10;&#10;Description automatically generated">
              <a:extLst>
                <a:ext uri="{FF2B5EF4-FFF2-40B4-BE49-F238E27FC236}">
                  <a16:creationId xmlns:a16="http://schemas.microsoft.com/office/drawing/2014/main" id="{58111CC4-9151-200B-341B-FC34BE4AE33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67823" y="3861797"/>
              <a:ext cx="469995" cy="618415"/>
            </a:xfrm>
            <a:prstGeom prst="rect">
              <a:avLst/>
            </a:prstGeom>
          </p:spPr>
        </p:pic>
        <p:pic>
          <p:nvPicPr>
            <p:cNvPr id="211" name="Picture 210" descr="Diagram, icon&#10;&#10;Description automatically generated">
              <a:extLst>
                <a:ext uri="{FF2B5EF4-FFF2-40B4-BE49-F238E27FC236}">
                  <a16:creationId xmlns:a16="http://schemas.microsoft.com/office/drawing/2014/main" id="{67190953-463B-8EF4-8EED-AA88BCCF265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32465" y="3913608"/>
              <a:ext cx="435232" cy="618155"/>
            </a:xfrm>
            <a:prstGeom prst="rect">
              <a:avLst/>
            </a:prstGeom>
          </p:spPr>
        </p:pic>
      </p:grpSp>
      <p:grpSp>
        <p:nvGrpSpPr>
          <p:cNvPr id="212" name="Group 211">
            <a:extLst>
              <a:ext uri="{FF2B5EF4-FFF2-40B4-BE49-F238E27FC236}">
                <a16:creationId xmlns:a16="http://schemas.microsoft.com/office/drawing/2014/main" id="{7B9EF107-B762-5DB0-4180-4B908F00DCB9}"/>
              </a:ext>
            </a:extLst>
          </p:cNvPr>
          <p:cNvGrpSpPr/>
          <p:nvPr/>
        </p:nvGrpSpPr>
        <p:grpSpPr>
          <a:xfrm rot="2700000">
            <a:off x="9775322" y="4188460"/>
            <a:ext cx="320040" cy="320040"/>
            <a:chOff x="5951900" y="4858778"/>
            <a:chExt cx="320040" cy="320040"/>
          </a:xfrm>
        </p:grpSpPr>
        <p:sp>
          <p:nvSpPr>
            <p:cNvPr id="213" name="Oval 212">
              <a:extLst>
                <a:ext uri="{FF2B5EF4-FFF2-40B4-BE49-F238E27FC236}">
                  <a16:creationId xmlns:a16="http://schemas.microsoft.com/office/drawing/2014/main" id="{CA71317C-94B3-C4D7-79D5-0DF4C99F2B86}"/>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14" name="Freeform: Shape 213">
              <a:extLst>
                <a:ext uri="{FF2B5EF4-FFF2-40B4-BE49-F238E27FC236}">
                  <a16:creationId xmlns:a16="http://schemas.microsoft.com/office/drawing/2014/main" id="{2A068228-3A37-8156-5620-9CDD8901217C}"/>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AEC9C87A-AB9E-F5AD-4C12-FDCB8062393C}"/>
              </a:ext>
            </a:extLst>
          </p:cNvPr>
          <p:cNvGrpSpPr/>
          <p:nvPr/>
        </p:nvGrpSpPr>
        <p:grpSpPr>
          <a:xfrm rot="16200000" flipH="1" flipV="1">
            <a:off x="8466425" y="4216958"/>
            <a:ext cx="320040" cy="320040"/>
            <a:chOff x="5951900" y="4858778"/>
            <a:chExt cx="320040" cy="320040"/>
          </a:xfrm>
        </p:grpSpPr>
        <p:sp>
          <p:nvSpPr>
            <p:cNvPr id="216" name="Oval 215">
              <a:extLst>
                <a:ext uri="{FF2B5EF4-FFF2-40B4-BE49-F238E27FC236}">
                  <a16:creationId xmlns:a16="http://schemas.microsoft.com/office/drawing/2014/main" id="{555C34F8-FEB0-A74A-F7ED-8427CA6A6CC5}"/>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17" name="Freeform: Shape 216">
              <a:extLst>
                <a:ext uri="{FF2B5EF4-FFF2-40B4-BE49-F238E27FC236}">
                  <a16:creationId xmlns:a16="http://schemas.microsoft.com/office/drawing/2014/main" id="{4D8AC193-5CDD-9E9F-DFFD-E6EF118254CE}"/>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990ADC1B-912E-FFE6-33E2-F4739D2B4816}"/>
              </a:ext>
            </a:extLst>
          </p:cNvPr>
          <p:cNvSpPr txBox="1"/>
          <p:nvPr/>
        </p:nvSpPr>
        <p:spPr>
          <a:xfrm>
            <a:off x="6290695" y="5820272"/>
            <a:ext cx="1930504" cy="387798"/>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 app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D-based)</a:t>
            </a:r>
          </a:p>
        </p:txBody>
      </p:sp>
      <p:sp>
        <p:nvSpPr>
          <p:cNvPr id="219" name="Rectangle: Rounded Corners 218">
            <a:extLst>
              <a:ext uri="{FF2B5EF4-FFF2-40B4-BE49-F238E27FC236}">
                <a16:creationId xmlns:a16="http://schemas.microsoft.com/office/drawing/2014/main" id="{DF22F436-DC91-DA72-BBD0-9B471A79651A}"/>
              </a:ext>
            </a:extLst>
          </p:cNvPr>
          <p:cNvSpPr/>
          <p:nvPr/>
        </p:nvSpPr>
        <p:spPr bwMode="auto">
          <a:xfrm>
            <a:off x="6370127" y="4800890"/>
            <a:ext cx="1717799" cy="929227"/>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220" name="Group 219">
            <a:extLst>
              <a:ext uri="{FF2B5EF4-FFF2-40B4-BE49-F238E27FC236}">
                <a16:creationId xmlns:a16="http://schemas.microsoft.com/office/drawing/2014/main" id="{BB7A18BB-E109-AACE-517A-6F7AE81B43F7}"/>
              </a:ext>
            </a:extLst>
          </p:cNvPr>
          <p:cNvGrpSpPr/>
          <p:nvPr/>
        </p:nvGrpSpPr>
        <p:grpSpPr>
          <a:xfrm>
            <a:off x="6572446" y="4930812"/>
            <a:ext cx="1305353" cy="690504"/>
            <a:chOff x="9632465" y="3861797"/>
            <a:chExt cx="1305353" cy="690504"/>
          </a:xfrm>
        </p:grpSpPr>
        <p:pic>
          <p:nvPicPr>
            <p:cNvPr id="221" name="Picture 220" descr="A picture containing text, electronics&#10;&#10;Description automatically generated">
              <a:extLst>
                <a:ext uri="{FF2B5EF4-FFF2-40B4-BE49-F238E27FC236}">
                  <a16:creationId xmlns:a16="http://schemas.microsoft.com/office/drawing/2014/main" id="{FB4E6FB9-D2A5-1B97-A0C1-98FA8C11C9E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39638" y="3915319"/>
              <a:ext cx="491007" cy="636982"/>
            </a:xfrm>
            <a:prstGeom prst="rect">
              <a:avLst/>
            </a:prstGeom>
          </p:spPr>
        </p:pic>
        <p:pic>
          <p:nvPicPr>
            <p:cNvPr id="222" name="Picture 221" descr="A picture containing application&#10;&#10;Description automatically generated">
              <a:extLst>
                <a:ext uri="{FF2B5EF4-FFF2-40B4-BE49-F238E27FC236}">
                  <a16:creationId xmlns:a16="http://schemas.microsoft.com/office/drawing/2014/main" id="{7C4EFDAE-42E9-E757-F1E1-1B94B6AE9AF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67823" y="3861797"/>
              <a:ext cx="469995" cy="618415"/>
            </a:xfrm>
            <a:prstGeom prst="rect">
              <a:avLst/>
            </a:prstGeom>
          </p:spPr>
        </p:pic>
        <p:pic>
          <p:nvPicPr>
            <p:cNvPr id="223" name="Picture 222" descr="Diagram, icon&#10;&#10;Description automatically generated">
              <a:extLst>
                <a:ext uri="{FF2B5EF4-FFF2-40B4-BE49-F238E27FC236}">
                  <a16:creationId xmlns:a16="http://schemas.microsoft.com/office/drawing/2014/main" id="{E00FA799-CD02-C223-F598-1978B829847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32465" y="3913608"/>
              <a:ext cx="435232" cy="618155"/>
            </a:xfrm>
            <a:prstGeom prst="rect">
              <a:avLst/>
            </a:prstGeom>
          </p:spPr>
        </p:pic>
      </p:grpSp>
      <p:grpSp>
        <p:nvGrpSpPr>
          <p:cNvPr id="224" name="Group 223">
            <a:extLst>
              <a:ext uri="{FF2B5EF4-FFF2-40B4-BE49-F238E27FC236}">
                <a16:creationId xmlns:a16="http://schemas.microsoft.com/office/drawing/2014/main" id="{565ED0E7-6149-773D-5FCA-16F8B53AA495}"/>
              </a:ext>
            </a:extLst>
          </p:cNvPr>
          <p:cNvGrpSpPr/>
          <p:nvPr/>
        </p:nvGrpSpPr>
        <p:grpSpPr>
          <a:xfrm flipH="1">
            <a:off x="7961953" y="5131680"/>
            <a:ext cx="320040" cy="320040"/>
            <a:chOff x="5951900" y="4858778"/>
            <a:chExt cx="320040" cy="320040"/>
          </a:xfrm>
        </p:grpSpPr>
        <p:sp>
          <p:nvSpPr>
            <p:cNvPr id="225" name="Oval 224">
              <a:extLst>
                <a:ext uri="{FF2B5EF4-FFF2-40B4-BE49-F238E27FC236}">
                  <a16:creationId xmlns:a16="http://schemas.microsoft.com/office/drawing/2014/main" id="{5F4A3C36-D8C5-0FFB-070D-3618A74AD422}"/>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26" name="Freeform: Shape 225">
              <a:extLst>
                <a:ext uri="{FF2B5EF4-FFF2-40B4-BE49-F238E27FC236}">
                  <a16:creationId xmlns:a16="http://schemas.microsoft.com/office/drawing/2014/main" id="{28A1D24A-5135-B558-F2DB-7A7F2EB54677}"/>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27" name="Picture 226">
            <a:extLst>
              <a:ext uri="{FF2B5EF4-FFF2-40B4-BE49-F238E27FC236}">
                <a16:creationId xmlns:a16="http://schemas.microsoft.com/office/drawing/2014/main" id="{40FB29AD-43B0-1056-C4AE-6707FFE6981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1865740"/>
            <a:ext cx="836481" cy="536135"/>
          </a:xfrm>
          <a:prstGeom prst="rect">
            <a:avLst/>
          </a:prstGeom>
        </p:spPr>
      </p:pic>
      <p:sp>
        <p:nvSpPr>
          <p:cNvPr id="228" name="TextBox 227">
            <a:extLst>
              <a:ext uri="{FF2B5EF4-FFF2-40B4-BE49-F238E27FC236}">
                <a16:creationId xmlns:a16="http://schemas.microsoft.com/office/drawing/2014/main" id="{FEF0E32B-3CF9-FF22-9F8B-A0F12BCC7A9A}"/>
              </a:ext>
            </a:extLst>
          </p:cNvPr>
          <p:cNvSpPr txBox="1"/>
          <p:nvPr/>
        </p:nvSpPr>
        <p:spPr>
          <a:xfrm>
            <a:off x="5840564" y="2386999"/>
            <a:ext cx="1452542" cy="387798"/>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Other identity providers</a:t>
            </a:r>
          </a:p>
        </p:txBody>
      </p:sp>
      <p:cxnSp>
        <p:nvCxnSpPr>
          <p:cNvPr id="229" name="Straight Arrow Connector 228">
            <a:extLst>
              <a:ext uri="{FF2B5EF4-FFF2-40B4-BE49-F238E27FC236}">
                <a16:creationId xmlns:a16="http://schemas.microsoft.com/office/drawing/2014/main" id="{9298B245-1DA8-85CE-DBE2-61DB86044666}"/>
              </a:ext>
            </a:extLst>
          </p:cNvPr>
          <p:cNvCxnSpPr>
            <a:cxnSpLocks/>
            <a:stCxn id="228" idx="3"/>
          </p:cNvCxnSpPr>
          <p:nvPr/>
        </p:nvCxnSpPr>
        <p:spPr>
          <a:xfrm>
            <a:off x="7293106" y="2580898"/>
            <a:ext cx="1029533" cy="7360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30" name="Graphic 7">
            <a:extLst>
              <a:ext uri="{FF2B5EF4-FFF2-40B4-BE49-F238E27FC236}">
                <a16:creationId xmlns:a16="http://schemas.microsoft.com/office/drawing/2014/main" id="{9C128DD9-8EBC-023F-6751-7721877DE173}"/>
              </a:ext>
            </a:extLst>
          </p:cNvPr>
          <p:cNvPicPr>
            <a:picLocks noChangeAspect="1"/>
          </p:cNvPicPr>
          <p:nvPr/>
        </p:nvPicPr>
        <p:blipFill>
          <a:blip r:embed="rId13"/>
          <a:srcRect/>
          <a:stretch/>
        </p:blipFill>
        <p:spPr>
          <a:xfrm>
            <a:off x="8836672" y="3204073"/>
            <a:ext cx="639344" cy="639344"/>
          </a:xfrm>
          <a:prstGeom prst="rect">
            <a:avLst/>
          </a:prstGeom>
        </p:spPr>
      </p:pic>
    </p:spTree>
    <p:extLst>
      <p:ext uri="{BB962C8B-B14F-4D97-AF65-F5344CB8AC3E}">
        <p14:creationId xmlns:p14="http://schemas.microsoft.com/office/powerpoint/2010/main" val="2617188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ED9730-4537-75C1-B486-9970F8CDF7CA}"/>
              </a:ext>
            </a:extLst>
          </p:cNvPr>
          <p:cNvSpPr>
            <a:spLocks noGrp="1"/>
          </p:cNvSpPr>
          <p:nvPr>
            <p:ph type="title"/>
          </p:nvPr>
        </p:nvSpPr>
        <p:spPr>
          <a:xfrm>
            <a:off x="588265" y="3041098"/>
            <a:ext cx="4667226" cy="492443"/>
          </a:xfrm>
        </p:spPr>
        <p:txBody>
          <a:bodyPr/>
          <a:lstStyle/>
          <a:p>
            <a:r>
              <a:rPr lang="en-US"/>
              <a:t>Single-Sign On (SSO)</a:t>
            </a:r>
          </a:p>
        </p:txBody>
      </p:sp>
      <p:sp>
        <p:nvSpPr>
          <p:cNvPr id="5" name="Text Placeholder 4">
            <a:extLst>
              <a:ext uri="{FF2B5EF4-FFF2-40B4-BE49-F238E27FC236}">
                <a16:creationId xmlns:a16="http://schemas.microsoft.com/office/drawing/2014/main" id="{F061F818-8F3C-403B-BE2F-27B7D7A38A1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28287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Cloud Identity Services</a:t>
            </a:r>
          </a:p>
        </p:txBody>
      </p:sp>
      <p:sp>
        <p:nvSpPr>
          <p:cNvPr id="3" name="Content Placeholder 2">
            <a:extLst>
              <a:ext uri="{FF2B5EF4-FFF2-40B4-BE49-F238E27FC236}">
                <a16:creationId xmlns:a16="http://schemas.microsoft.com/office/drawing/2014/main" id="{99F4A27F-69DC-ADAA-488A-4A8EAFE1848A}"/>
              </a:ext>
            </a:extLst>
          </p:cNvPr>
          <p:cNvSpPr>
            <a:spLocks noGrp="1"/>
          </p:cNvSpPr>
          <p:nvPr>
            <p:ph sz="quarter" idx="10"/>
          </p:nvPr>
        </p:nvSpPr>
        <p:spPr>
          <a:xfrm>
            <a:off x="584200" y="1435100"/>
            <a:ext cx="11018838" cy="1292662"/>
          </a:xfrm>
        </p:spPr>
        <p:txBody>
          <a:bodyPr/>
          <a:lstStyle/>
          <a:p>
            <a:r>
              <a:rPr lang="en-US"/>
              <a:t>Use Federated Authentication in SAP Business Technology Platform and SAP SaaS applications through SAP Identity Authentication Service</a:t>
            </a:r>
          </a:p>
        </p:txBody>
      </p:sp>
      <p:sp>
        <p:nvSpPr>
          <p:cNvPr id="4" name="Rectangle 3">
            <a:extLst>
              <a:ext uri="{FF2B5EF4-FFF2-40B4-BE49-F238E27FC236}">
                <a16:creationId xmlns:a16="http://schemas.microsoft.com/office/drawing/2014/main" id="{6E37B7FF-493C-4FD4-37CA-7D228E2820D3}"/>
              </a:ext>
            </a:extLst>
          </p:cNvPr>
          <p:cNvSpPr/>
          <p:nvPr/>
        </p:nvSpPr>
        <p:spPr bwMode="auto">
          <a:xfrm>
            <a:off x="2632366" y="2737979"/>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Microsoft Entra Tenant</a:t>
            </a:r>
          </a:p>
        </p:txBody>
      </p:sp>
      <p:sp>
        <p:nvSpPr>
          <p:cNvPr id="5" name="Rectangle 4">
            <a:extLst>
              <a:ext uri="{FF2B5EF4-FFF2-40B4-BE49-F238E27FC236}">
                <a16:creationId xmlns:a16="http://schemas.microsoft.com/office/drawing/2014/main" id="{D35F8667-AB7D-1A2D-02A7-8FED9787CB7E}"/>
              </a:ext>
            </a:extLst>
          </p:cNvPr>
          <p:cNvSpPr/>
          <p:nvPr/>
        </p:nvSpPr>
        <p:spPr bwMode="auto">
          <a:xfrm>
            <a:off x="5082237" y="2733361"/>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SAP IAS Tenant</a:t>
            </a:r>
          </a:p>
        </p:txBody>
      </p:sp>
      <p:sp>
        <p:nvSpPr>
          <p:cNvPr id="6" name="Rectangle 5">
            <a:extLst>
              <a:ext uri="{FF2B5EF4-FFF2-40B4-BE49-F238E27FC236}">
                <a16:creationId xmlns:a16="http://schemas.microsoft.com/office/drawing/2014/main" id="{2F532DF3-320D-984F-9A06-AC13C3EE314D}"/>
              </a:ext>
            </a:extLst>
          </p:cNvPr>
          <p:cNvSpPr/>
          <p:nvPr/>
        </p:nvSpPr>
        <p:spPr bwMode="auto">
          <a:xfrm>
            <a:off x="7536871" y="2733361"/>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SAP BTP Subaccount</a:t>
            </a:r>
          </a:p>
        </p:txBody>
      </p:sp>
      <p:sp>
        <p:nvSpPr>
          <p:cNvPr id="7" name="Rectangle 6">
            <a:extLst>
              <a:ext uri="{FF2B5EF4-FFF2-40B4-BE49-F238E27FC236}">
                <a16:creationId xmlns:a16="http://schemas.microsoft.com/office/drawing/2014/main" id="{F63D505B-8593-662F-164A-20AE37BFD1EA}"/>
              </a:ext>
            </a:extLst>
          </p:cNvPr>
          <p:cNvSpPr/>
          <p:nvPr/>
        </p:nvSpPr>
        <p:spPr bwMode="auto">
          <a:xfrm>
            <a:off x="2890985" y="3393761"/>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Enterprise Application</a:t>
            </a:r>
          </a:p>
        </p:txBody>
      </p:sp>
      <p:sp>
        <p:nvSpPr>
          <p:cNvPr id="8" name="Rectangle 7">
            <a:extLst>
              <a:ext uri="{FF2B5EF4-FFF2-40B4-BE49-F238E27FC236}">
                <a16:creationId xmlns:a16="http://schemas.microsoft.com/office/drawing/2014/main" id="{BA5A832D-7CDA-CE06-08BD-E59B9E07107B}"/>
              </a:ext>
            </a:extLst>
          </p:cNvPr>
          <p:cNvSpPr/>
          <p:nvPr/>
        </p:nvSpPr>
        <p:spPr bwMode="auto">
          <a:xfrm>
            <a:off x="5331618" y="3393761"/>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Corporate Identity Provider</a:t>
            </a:r>
          </a:p>
        </p:txBody>
      </p:sp>
      <p:sp>
        <p:nvSpPr>
          <p:cNvPr id="9" name="Rectangle 8">
            <a:extLst>
              <a:ext uri="{FF2B5EF4-FFF2-40B4-BE49-F238E27FC236}">
                <a16:creationId xmlns:a16="http://schemas.microsoft.com/office/drawing/2014/main" id="{54D5FA69-8443-E42C-57BD-8FF944467C89}"/>
              </a:ext>
            </a:extLst>
          </p:cNvPr>
          <p:cNvSpPr/>
          <p:nvPr/>
        </p:nvSpPr>
        <p:spPr bwMode="auto">
          <a:xfrm>
            <a:off x="5331618" y="4605309"/>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Application</a:t>
            </a:r>
          </a:p>
        </p:txBody>
      </p:sp>
      <p:sp>
        <p:nvSpPr>
          <p:cNvPr id="10" name="Rectangle 9">
            <a:extLst>
              <a:ext uri="{FF2B5EF4-FFF2-40B4-BE49-F238E27FC236}">
                <a16:creationId xmlns:a16="http://schemas.microsoft.com/office/drawing/2014/main" id="{91A9FA2E-9E1D-D5B6-5BA6-35AAA4521919}"/>
              </a:ext>
            </a:extLst>
          </p:cNvPr>
          <p:cNvSpPr/>
          <p:nvPr/>
        </p:nvSpPr>
        <p:spPr bwMode="auto">
          <a:xfrm>
            <a:off x="7786252" y="4605309"/>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Trust configuration</a:t>
            </a:r>
          </a:p>
        </p:txBody>
      </p:sp>
      <p:cxnSp>
        <p:nvCxnSpPr>
          <p:cNvPr id="12" name="Straight Arrow Connector 11">
            <a:extLst>
              <a:ext uri="{FF2B5EF4-FFF2-40B4-BE49-F238E27FC236}">
                <a16:creationId xmlns:a16="http://schemas.microsoft.com/office/drawing/2014/main" id="{BFE618D0-6F2D-D95E-7A73-BD3592209886}"/>
              </a:ext>
            </a:extLst>
          </p:cNvPr>
          <p:cNvCxnSpPr>
            <a:stCxn id="7" idx="3"/>
            <a:endCxn id="8" idx="1"/>
          </p:cNvCxnSpPr>
          <p:nvPr/>
        </p:nvCxnSpPr>
        <p:spPr>
          <a:xfrm>
            <a:off x="4414985" y="3730889"/>
            <a:ext cx="916633" cy="0"/>
          </a:xfrm>
          <a:prstGeom prst="straightConnector1">
            <a:avLst/>
          </a:prstGeom>
          <a:ln w="19050">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3" name="Straight Arrow Connector 12">
            <a:extLst>
              <a:ext uri="{FF2B5EF4-FFF2-40B4-BE49-F238E27FC236}">
                <a16:creationId xmlns:a16="http://schemas.microsoft.com/office/drawing/2014/main" id="{BE9FAEB8-F807-72B1-39E1-279D4BD91C3D}"/>
              </a:ext>
            </a:extLst>
          </p:cNvPr>
          <p:cNvCxnSpPr>
            <a:cxnSpLocks/>
            <a:stCxn id="9" idx="3"/>
            <a:endCxn id="10" idx="1"/>
          </p:cNvCxnSpPr>
          <p:nvPr/>
        </p:nvCxnSpPr>
        <p:spPr>
          <a:xfrm>
            <a:off x="6855618" y="4942437"/>
            <a:ext cx="930634" cy="0"/>
          </a:xfrm>
          <a:prstGeom prst="straightConnector1">
            <a:avLst/>
          </a:prstGeom>
          <a:ln w="19050">
            <a:headEnd type="triangle"/>
            <a:tailEnd type="triangle"/>
          </a:ln>
        </p:spPr>
        <p:style>
          <a:lnRef idx="1">
            <a:schemeClr val="accent3"/>
          </a:lnRef>
          <a:fillRef idx="0">
            <a:schemeClr val="accent3"/>
          </a:fillRef>
          <a:effectRef idx="0">
            <a:schemeClr val="accent3"/>
          </a:effectRef>
          <a:fontRef idx="minor">
            <a:schemeClr val="tx1"/>
          </a:fontRef>
        </p:style>
      </p:cxnSp>
      <p:sp>
        <p:nvSpPr>
          <p:cNvPr id="16" name="TextBox 15">
            <a:extLst>
              <a:ext uri="{FF2B5EF4-FFF2-40B4-BE49-F238E27FC236}">
                <a16:creationId xmlns:a16="http://schemas.microsoft.com/office/drawing/2014/main" id="{F30D51BA-5908-C7AF-CB32-112BB155491E}"/>
              </a:ext>
            </a:extLst>
          </p:cNvPr>
          <p:cNvSpPr txBox="1"/>
          <p:nvPr/>
        </p:nvSpPr>
        <p:spPr>
          <a:xfrm>
            <a:off x="4693058" y="3554632"/>
            <a:ext cx="359201" cy="184666"/>
          </a:xfrm>
          <a:prstGeom prst="rect">
            <a:avLst/>
          </a:prstGeom>
          <a:noFill/>
        </p:spPr>
        <p:txBody>
          <a:bodyPr wrap="none" lIns="0" tIns="0" rIns="0" bIns="0" rtlCol="0">
            <a:spAutoFit/>
          </a:bodyPr>
          <a:lstStyle/>
          <a:p>
            <a:pPr algn="l"/>
            <a:r>
              <a:rPr lang="en-US" sz="1200" b="1">
                <a:solidFill>
                  <a:srgbClr val="107C10"/>
                </a:solidFill>
              </a:rPr>
              <a:t>Trust</a:t>
            </a:r>
          </a:p>
        </p:txBody>
      </p:sp>
      <p:sp>
        <p:nvSpPr>
          <p:cNvPr id="17" name="TextBox 16">
            <a:extLst>
              <a:ext uri="{FF2B5EF4-FFF2-40B4-BE49-F238E27FC236}">
                <a16:creationId xmlns:a16="http://schemas.microsoft.com/office/drawing/2014/main" id="{F3942E07-5F1A-6190-AD18-09702257EFB7}"/>
              </a:ext>
            </a:extLst>
          </p:cNvPr>
          <p:cNvSpPr txBox="1"/>
          <p:nvPr/>
        </p:nvSpPr>
        <p:spPr>
          <a:xfrm>
            <a:off x="7151676" y="4734219"/>
            <a:ext cx="359201" cy="184666"/>
          </a:xfrm>
          <a:prstGeom prst="rect">
            <a:avLst/>
          </a:prstGeom>
          <a:noFill/>
        </p:spPr>
        <p:txBody>
          <a:bodyPr wrap="none" lIns="0" tIns="0" rIns="0" bIns="0" rtlCol="0">
            <a:spAutoFit/>
          </a:bodyPr>
          <a:lstStyle/>
          <a:p>
            <a:pPr algn="l"/>
            <a:r>
              <a:rPr lang="en-US" sz="1200" b="1">
                <a:solidFill>
                  <a:srgbClr val="107C10"/>
                </a:solidFill>
              </a:rPr>
              <a:t>Trust</a:t>
            </a:r>
          </a:p>
        </p:txBody>
      </p:sp>
      <p:sp>
        <p:nvSpPr>
          <p:cNvPr id="19" name="TextBox 18">
            <a:extLst>
              <a:ext uri="{FF2B5EF4-FFF2-40B4-BE49-F238E27FC236}">
                <a16:creationId xmlns:a16="http://schemas.microsoft.com/office/drawing/2014/main" id="{F69B110E-E990-EE4F-09A7-681CD037E3F4}"/>
              </a:ext>
            </a:extLst>
          </p:cNvPr>
          <p:cNvSpPr txBox="1"/>
          <p:nvPr/>
        </p:nvSpPr>
        <p:spPr>
          <a:xfrm>
            <a:off x="584200" y="6103351"/>
            <a:ext cx="10497299" cy="635559"/>
          </a:xfrm>
          <a:prstGeom prst="rect">
            <a:avLst/>
          </a:prstGeom>
          <a:noFill/>
        </p:spPr>
        <p:txBody>
          <a:bodyPr wrap="square">
            <a:spAutoFit/>
          </a:bodyPr>
          <a:lstStyle/>
          <a:p>
            <a:r>
              <a:rPr lang="en-US">
                <a:hlinkClick r:id="rId2"/>
              </a:rPr>
              <a:t>Scenario - Using Microsoft Entra ID to secure access to SAP platforms and applications</a:t>
            </a:r>
            <a:endParaRPr lang="en-US"/>
          </a:p>
          <a:p>
            <a:r>
              <a:rPr lang="en-US">
                <a:hlinkClick r:id="rId3"/>
              </a:rPr>
              <a:t>Tutorial: Microsoft Entra single </a:t>
            </a:r>
            <a:r>
              <a:rPr lang="en-US" err="1">
                <a:hlinkClick r:id="rId3"/>
              </a:rPr>
              <a:t>sign-on</a:t>
            </a:r>
            <a:r>
              <a:rPr lang="en-US">
                <a:hlinkClick r:id="rId3"/>
              </a:rPr>
              <a:t> (SSO) integration with SAP Cloud Identity Services</a:t>
            </a:r>
            <a:endParaRPr lang="en-US"/>
          </a:p>
        </p:txBody>
      </p:sp>
    </p:spTree>
    <p:extLst>
      <p:ext uri="{BB962C8B-B14F-4D97-AF65-F5344CB8AC3E}">
        <p14:creationId xmlns:p14="http://schemas.microsoft.com/office/powerpoint/2010/main" val="16161825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Cloud Identity Services</a:t>
            </a:r>
          </a:p>
        </p:txBody>
      </p:sp>
      <p:pic>
        <p:nvPicPr>
          <p:cNvPr id="7" name="Content Placeholder 6">
            <a:extLst>
              <a:ext uri="{FF2B5EF4-FFF2-40B4-BE49-F238E27FC236}">
                <a16:creationId xmlns:a16="http://schemas.microsoft.com/office/drawing/2014/main" id="{F8C902AF-E5D1-97CB-0AC9-B2DEC02BE329}"/>
              </a:ext>
            </a:extLst>
          </p:cNvPr>
          <p:cNvPicPr>
            <a:picLocks noGrp="1" noChangeAspect="1"/>
          </p:cNvPicPr>
          <p:nvPr>
            <p:ph sz="quarter" idx="10"/>
          </p:nvPr>
        </p:nvPicPr>
        <p:blipFill>
          <a:blip r:embed="rId2"/>
          <a:stretch>
            <a:fillRect/>
          </a:stretch>
        </p:blipFill>
        <p:spPr>
          <a:xfrm>
            <a:off x="1238157" y="1840076"/>
            <a:ext cx="495300" cy="1562100"/>
          </a:xfrm>
        </p:spPr>
      </p:pic>
      <p:sp>
        <p:nvSpPr>
          <p:cNvPr id="14" name="Rounded Rectangle 3">
            <a:extLst>
              <a:ext uri="{FF2B5EF4-FFF2-40B4-BE49-F238E27FC236}">
                <a16:creationId xmlns:a16="http://schemas.microsoft.com/office/drawing/2014/main" id="{D5D75C7B-C27B-DAB8-CF73-6A1248FFC5DB}"/>
              </a:ext>
            </a:extLst>
          </p:cNvPr>
          <p:cNvSpPr/>
          <p:nvPr/>
        </p:nvSpPr>
        <p:spPr>
          <a:xfrm>
            <a:off x="4480840" y="1869398"/>
            <a:ext cx="2843399" cy="3300441"/>
          </a:xfrm>
          <a:prstGeom prst="roundRect">
            <a:avLst>
              <a:gd name="adj" fmla="val 3112"/>
            </a:avLst>
          </a:prstGeom>
          <a:solidFill>
            <a:srgbClr val="EBF8FF"/>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1400"/>
          </a:p>
        </p:txBody>
      </p:sp>
      <p:grpSp>
        <p:nvGrpSpPr>
          <p:cNvPr id="19" name="Group 18">
            <a:extLst>
              <a:ext uri="{FF2B5EF4-FFF2-40B4-BE49-F238E27FC236}">
                <a16:creationId xmlns:a16="http://schemas.microsoft.com/office/drawing/2014/main" id="{1B67D70A-4249-C8EB-F80B-3E60E34EE9E2}"/>
              </a:ext>
            </a:extLst>
          </p:cNvPr>
          <p:cNvGrpSpPr/>
          <p:nvPr/>
        </p:nvGrpSpPr>
        <p:grpSpPr>
          <a:xfrm>
            <a:off x="4669579" y="2365365"/>
            <a:ext cx="1287876" cy="969789"/>
            <a:chOff x="6319337" y="4127274"/>
            <a:chExt cx="1287876" cy="969789"/>
          </a:xfrm>
        </p:grpSpPr>
        <p:sp>
          <p:nvSpPr>
            <p:cNvPr id="15" name="Rounded Rectangle 20">
              <a:extLst>
                <a:ext uri="{FF2B5EF4-FFF2-40B4-BE49-F238E27FC236}">
                  <a16:creationId xmlns:a16="http://schemas.microsoft.com/office/drawing/2014/main" id="{3D6E3138-AFC0-2682-EE18-4E06C16A8B03}"/>
                </a:ext>
              </a:extLst>
            </p:cNvPr>
            <p:cNvSpPr/>
            <p:nvPr/>
          </p:nvSpPr>
          <p:spPr>
            <a:xfrm>
              <a:off x="6319337" y="4127274"/>
              <a:ext cx="1274517" cy="969789"/>
            </a:xfrm>
            <a:prstGeom prst="roundRect">
              <a:avLst>
                <a:gd name="adj" fmla="val 6525"/>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pic>
          <p:nvPicPr>
            <p:cNvPr id="16" name="Graphic 15">
              <a:extLst>
                <a:ext uri="{FF2B5EF4-FFF2-40B4-BE49-F238E27FC236}">
                  <a16:creationId xmlns:a16="http://schemas.microsoft.com/office/drawing/2014/main" id="{252B00B3-7FC2-D1CA-9B2D-403208B57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5188" y="4241458"/>
              <a:ext cx="417600" cy="417600"/>
            </a:xfrm>
            <a:prstGeom prst="rect">
              <a:avLst/>
            </a:prstGeom>
          </p:spPr>
        </p:pic>
        <p:sp>
          <p:nvSpPr>
            <p:cNvPr id="17" name="Text 26">
              <a:extLst>
                <a:ext uri="{FF2B5EF4-FFF2-40B4-BE49-F238E27FC236}">
                  <a16:creationId xmlns:a16="http://schemas.microsoft.com/office/drawing/2014/main" id="{AC7065DB-89A5-5C37-EB5B-6CCC50C8B8CC}"/>
                </a:ext>
              </a:extLst>
            </p:cNvPr>
            <p:cNvSpPr/>
            <p:nvPr/>
          </p:nvSpPr>
          <p:spPr>
            <a:xfrm>
              <a:off x="6332697" y="4699685"/>
              <a:ext cx="1274516" cy="233253"/>
            </a:xfrm>
            <a:prstGeom prst="rect">
              <a:avLst/>
            </a:prstGeom>
            <a:noFill/>
            <a:ln/>
          </p:spPr>
          <p:txBody>
            <a:bodyPr wrap="square" lIns="0" tIns="0" rIns="0" bIns="0" rtlCol="0" anchor="t"/>
            <a:lstStyle/>
            <a:p>
              <a:pPr marL="0" indent="0" algn="ctr">
                <a:lnSpc>
                  <a:spcPts val="1100"/>
                </a:lnSpc>
                <a:buNone/>
              </a:pPr>
              <a:r>
                <a:rPr lang="en-US" sz="900">
                  <a:solidFill>
                    <a:srgbClr val="1D2D3E"/>
                  </a:solidFill>
                  <a:latin typeface="72 Bold" pitchFamily="34" charset="0"/>
                  <a:ea typeface="72 Bold" pitchFamily="34" charset="-122"/>
                  <a:cs typeface="72 Bold" pitchFamily="34" charset="-120"/>
                </a:rPr>
                <a:t>SAP Cloud Identity</a:t>
              </a:r>
              <a:endParaRPr lang="en-US" sz="900">
                <a:solidFill>
                  <a:srgbClr val="1D2D3E"/>
                </a:solidFill>
              </a:endParaRPr>
            </a:p>
          </p:txBody>
        </p:sp>
      </p:grpSp>
      <p:pic>
        <p:nvPicPr>
          <p:cNvPr id="18" name="Graphic 17">
            <a:extLst>
              <a:ext uri="{FF2B5EF4-FFF2-40B4-BE49-F238E27FC236}">
                <a16:creationId xmlns:a16="http://schemas.microsoft.com/office/drawing/2014/main" id="{FF5BBC1C-9621-8A1F-E084-8F29BB2BCB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50251" y="2040743"/>
            <a:ext cx="551797" cy="153277"/>
          </a:xfrm>
          <a:prstGeom prst="rect">
            <a:avLst/>
          </a:prstGeom>
        </p:spPr>
      </p:pic>
      <p:grpSp>
        <p:nvGrpSpPr>
          <p:cNvPr id="21" name="Group 20">
            <a:extLst>
              <a:ext uri="{FF2B5EF4-FFF2-40B4-BE49-F238E27FC236}">
                <a16:creationId xmlns:a16="http://schemas.microsoft.com/office/drawing/2014/main" id="{E6AEB106-C6F2-BABD-D65A-F4F94F597E38}"/>
              </a:ext>
            </a:extLst>
          </p:cNvPr>
          <p:cNvGrpSpPr/>
          <p:nvPr/>
        </p:nvGrpSpPr>
        <p:grpSpPr>
          <a:xfrm>
            <a:off x="2503053" y="2544204"/>
            <a:ext cx="1381916" cy="927765"/>
            <a:chOff x="2937140" y="1938807"/>
            <a:chExt cx="1274516" cy="826168"/>
          </a:xfrm>
        </p:grpSpPr>
        <p:pic>
          <p:nvPicPr>
            <p:cNvPr id="11" name="Graphic 10">
              <a:extLst>
                <a:ext uri="{FF2B5EF4-FFF2-40B4-BE49-F238E27FC236}">
                  <a16:creationId xmlns:a16="http://schemas.microsoft.com/office/drawing/2014/main" id="{04F5A224-216C-CC04-02D0-A8CAAF8867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49928" y="1938807"/>
              <a:ext cx="553998" cy="553998"/>
            </a:xfrm>
            <a:prstGeom prst="rect">
              <a:avLst/>
            </a:prstGeom>
          </p:spPr>
        </p:pic>
        <p:sp>
          <p:nvSpPr>
            <p:cNvPr id="20" name="Text 26">
              <a:extLst>
                <a:ext uri="{FF2B5EF4-FFF2-40B4-BE49-F238E27FC236}">
                  <a16:creationId xmlns:a16="http://schemas.microsoft.com/office/drawing/2014/main" id="{5D43E6D2-A698-D6E2-BD4F-CC88894F314F}"/>
                </a:ext>
              </a:extLst>
            </p:cNvPr>
            <p:cNvSpPr/>
            <p:nvPr/>
          </p:nvSpPr>
          <p:spPr>
            <a:xfrm>
              <a:off x="2937140" y="2531722"/>
              <a:ext cx="1274516" cy="233253"/>
            </a:xfrm>
            <a:prstGeom prst="rect">
              <a:avLst/>
            </a:prstGeom>
            <a:noFill/>
            <a:ln/>
          </p:spPr>
          <p:txBody>
            <a:bodyPr wrap="square" lIns="0" tIns="0" rIns="0" bIns="0" rtlCol="0" anchor="t"/>
            <a:lstStyle/>
            <a:p>
              <a:pPr marL="0" indent="0" algn="ctr">
                <a:lnSpc>
                  <a:spcPts val="1100"/>
                </a:lnSpc>
                <a:buNone/>
              </a:pPr>
              <a:r>
                <a:rPr lang="en-US" sz="900">
                  <a:solidFill>
                    <a:srgbClr val="1D2D3E"/>
                  </a:solidFill>
                  <a:latin typeface="72 Bold" pitchFamily="34" charset="0"/>
                  <a:ea typeface="72 Bold" pitchFamily="34" charset="-122"/>
                  <a:cs typeface="72 Bold" pitchFamily="34" charset="-120"/>
                </a:rPr>
                <a:t>Microsoft Entra ID</a:t>
              </a:r>
              <a:endParaRPr lang="en-US" sz="900">
                <a:solidFill>
                  <a:srgbClr val="1D2D3E"/>
                </a:solidFill>
              </a:endParaRPr>
            </a:p>
          </p:txBody>
        </p:sp>
      </p:grpSp>
      <p:sp>
        <p:nvSpPr>
          <p:cNvPr id="22" name="Rounded Rectangle 2">
            <a:extLst>
              <a:ext uri="{FF2B5EF4-FFF2-40B4-BE49-F238E27FC236}">
                <a16:creationId xmlns:a16="http://schemas.microsoft.com/office/drawing/2014/main" id="{7214C27C-814C-F6F5-A41B-77F0F934F5A9}"/>
              </a:ext>
            </a:extLst>
          </p:cNvPr>
          <p:cNvSpPr/>
          <p:nvPr/>
        </p:nvSpPr>
        <p:spPr>
          <a:xfrm>
            <a:off x="8103056" y="1916701"/>
            <a:ext cx="2301377" cy="1125696"/>
          </a:xfrm>
          <a:prstGeom prst="roundRect">
            <a:avLst>
              <a:gd name="adj" fmla="val 10339"/>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sp>
        <p:nvSpPr>
          <p:cNvPr id="23" name="Text 26">
            <a:extLst>
              <a:ext uri="{FF2B5EF4-FFF2-40B4-BE49-F238E27FC236}">
                <a16:creationId xmlns:a16="http://schemas.microsoft.com/office/drawing/2014/main" id="{4CB45485-B09C-590B-E6F0-11AB8AFD672A}"/>
              </a:ext>
            </a:extLst>
          </p:cNvPr>
          <p:cNvSpPr/>
          <p:nvPr/>
        </p:nvSpPr>
        <p:spPr>
          <a:xfrm>
            <a:off x="8654185" y="2063853"/>
            <a:ext cx="1274516" cy="233253"/>
          </a:xfrm>
          <a:prstGeom prst="rect">
            <a:avLst/>
          </a:prstGeom>
          <a:noFill/>
          <a:ln/>
        </p:spPr>
        <p:txBody>
          <a:bodyPr wrap="square" lIns="0" tIns="0" rIns="0" bIns="0" rtlCol="0" anchor="t"/>
          <a:lstStyle/>
          <a:p>
            <a:pPr marL="0" indent="0">
              <a:lnSpc>
                <a:spcPts val="1100"/>
              </a:lnSpc>
              <a:buNone/>
            </a:pPr>
            <a:r>
              <a:rPr lang="en-US" sz="1100">
                <a:solidFill>
                  <a:srgbClr val="1D2D3E"/>
                </a:solidFill>
                <a:latin typeface="72 Bold" pitchFamily="34" charset="0"/>
                <a:ea typeface="72 Bold" pitchFamily="34" charset="-122"/>
                <a:cs typeface="72 Bold" pitchFamily="34" charset="-120"/>
              </a:rPr>
              <a:t>SAP On-Premise</a:t>
            </a:r>
          </a:p>
          <a:p>
            <a:pPr marL="0" indent="0">
              <a:lnSpc>
                <a:spcPts val="1100"/>
              </a:lnSpc>
              <a:buNone/>
            </a:pPr>
            <a:r>
              <a:rPr lang="en-US" sz="1100">
                <a:solidFill>
                  <a:srgbClr val="1D2D3E"/>
                </a:solidFill>
                <a:latin typeface="72 Bold" pitchFamily="34" charset="0"/>
                <a:cs typeface="72 Bold" pitchFamily="34" charset="-120"/>
              </a:rPr>
              <a:t>Solutions</a:t>
            </a:r>
            <a:endParaRPr lang="en-US" sz="1100">
              <a:solidFill>
                <a:srgbClr val="1D2D3E"/>
              </a:solidFill>
            </a:endParaRPr>
          </a:p>
        </p:txBody>
      </p:sp>
      <p:sp>
        <p:nvSpPr>
          <p:cNvPr id="24" name="Rounded Rectangle 22">
            <a:extLst>
              <a:ext uri="{FF2B5EF4-FFF2-40B4-BE49-F238E27FC236}">
                <a16:creationId xmlns:a16="http://schemas.microsoft.com/office/drawing/2014/main" id="{18D0E653-A0F6-BF0B-F9FC-7E400EC7BA9A}"/>
              </a:ext>
            </a:extLst>
          </p:cNvPr>
          <p:cNvSpPr/>
          <p:nvPr/>
        </p:nvSpPr>
        <p:spPr>
          <a:xfrm>
            <a:off x="8077300" y="3244038"/>
            <a:ext cx="2314002" cy="1982925"/>
          </a:xfrm>
          <a:prstGeom prst="roundRect">
            <a:avLst>
              <a:gd name="adj" fmla="val 5659"/>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sp>
        <p:nvSpPr>
          <p:cNvPr id="25" name="Text 26">
            <a:extLst>
              <a:ext uri="{FF2B5EF4-FFF2-40B4-BE49-F238E27FC236}">
                <a16:creationId xmlns:a16="http://schemas.microsoft.com/office/drawing/2014/main" id="{12DF1EB6-9C9A-B53E-1656-6C9C74AEEAC3}"/>
              </a:ext>
            </a:extLst>
          </p:cNvPr>
          <p:cNvSpPr/>
          <p:nvPr/>
        </p:nvSpPr>
        <p:spPr>
          <a:xfrm>
            <a:off x="8687753" y="3407323"/>
            <a:ext cx="1274516" cy="233253"/>
          </a:xfrm>
          <a:prstGeom prst="rect">
            <a:avLst/>
          </a:prstGeom>
          <a:noFill/>
          <a:ln/>
        </p:spPr>
        <p:txBody>
          <a:bodyPr wrap="square" lIns="0" tIns="0" rIns="0" bIns="0" rtlCol="0" anchor="t"/>
          <a:lstStyle/>
          <a:p>
            <a:pPr marL="0" indent="0">
              <a:lnSpc>
                <a:spcPts val="1100"/>
              </a:lnSpc>
              <a:buNone/>
            </a:pPr>
            <a:r>
              <a:rPr lang="en-US" sz="1100">
                <a:solidFill>
                  <a:srgbClr val="1D2D3E"/>
                </a:solidFill>
                <a:latin typeface="72 Bold" pitchFamily="34" charset="0"/>
                <a:ea typeface="72 Bold" pitchFamily="34" charset="-122"/>
                <a:cs typeface="72 Bold" pitchFamily="34" charset="-120"/>
              </a:rPr>
              <a:t>SAP Cloud</a:t>
            </a:r>
          </a:p>
          <a:p>
            <a:pPr marL="0" indent="0">
              <a:lnSpc>
                <a:spcPts val="1100"/>
              </a:lnSpc>
              <a:buNone/>
            </a:pPr>
            <a:r>
              <a:rPr lang="en-US" sz="1100">
                <a:solidFill>
                  <a:srgbClr val="1D2D3E"/>
                </a:solidFill>
                <a:latin typeface="72 Bold" pitchFamily="34" charset="0"/>
                <a:cs typeface="72 Bold" pitchFamily="34" charset="-120"/>
              </a:rPr>
              <a:t>Solutions</a:t>
            </a:r>
            <a:endParaRPr lang="en-US" sz="1100">
              <a:solidFill>
                <a:srgbClr val="1D2D3E"/>
              </a:solidFill>
            </a:endParaRPr>
          </a:p>
        </p:txBody>
      </p:sp>
      <p:sp>
        <p:nvSpPr>
          <p:cNvPr id="26" name="Rounded Rectangle 34">
            <a:extLst>
              <a:ext uri="{FF2B5EF4-FFF2-40B4-BE49-F238E27FC236}">
                <a16:creationId xmlns:a16="http://schemas.microsoft.com/office/drawing/2014/main" id="{06E3B74C-B8B3-CBA0-383E-7FE71FC10DE0}"/>
              </a:ext>
            </a:extLst>
          </p:cNvPr>
          <p:cNvSpPr/>
          <p:nvPr/>
        </p:nvSpPr>
        <p:spPr>
          <a:xfrm>
            <a:off x="6548170" y="2715164"/>
            <a:ext cx="605222" cy="154428"/>
          </a:xfrm>
          <a:prstGeom prst="roundRect">
            <a:avLst>
              <a:gd name="adj" fmla="val 50000"/>
            </a:avLst>
          </a:prstGeom>
          <a:solidFill>
            <a:srgbClr val="188918"/>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bg1"/>
                </a:solidFill>
                <a:latin typeface="72" panose="020B0503030000000003" pitchFamily="34" charset="0"/>
                <a:cs typeface="72" panose="020B0503030000000003" pitchFamily="34" charset="0"/>
              </a:rPr>
              <a:t>Authenticate</a:t>
            </a:r>
          </a:p>
        </p:txBody>
      </p:sp>
      <p:sp>
        <p:nvSpPr>
          <p:cNvPr id="27" name="Text 26">
            <a:extLst>
              <a:ext uri="{FF2B5EF4-FFF2-40B4-BE49-F238E27FC236}">
                <a16:creationId xmlns:a16="http://schemas.microsoft.com/office/drawing/2014/main" id="{7B7E3CBE-F923-68C0-FE09-97B5CCA15A20}"/>
              </a:ext>
            </a:extLst>
          </p:cNvPr>
          <p:cNvSpPr/>
          <p:nvPr/>
        </p:nvSpPr>
        <p:spPr>
          <a:xfrm>
            <a:off x="8654185" y="2371616"/>
            <a:ext cx="1274516" cy="233253"/>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4HANA</a:t>
            </a:r>
            <a:endParaRPr lang="en-US" sz="900">
              <a:solidFill>
                <a:srgbClr val="1D2D3E"/>
              </a:solidFill>
            </a:endParaRPr>
          </a:p>
        </p:txBody>
      </p:sp>
      <p:sp>
        <p:nvSpPr>
          <p:cNvPr id="28" name="Text 26">
            <a:extLst>
              <a:ext uri="{FF2B5EF4-FFF2-40B4-BE49-F238E27FC236}">
                <a16:creationId xmlns:a16="http://schemas.microsoft.com/office/drawing/2014/main" id="{185B3AFF-4578-86D9-A7E0-2ABB93841CFA}"/>
              </a:ext>
            </a:extLst>
          </p:cNvPr>
          <p:cNvSpPr/>
          <p:nvPr/>
        </p:nvSpPr>
        <p:spPr>
          <a:xfrm>
            <a:off x="8679882" y="390305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4HANA Cloud</a:t>
            </a:r>
            <a:endParaRPr lang="en-US" sz="900">
              <a:solidFill>
                <a:srgbClr val="1D2D3E"/>
              </a:solidFill>
            </a:endParaRPr>
          </a:p>
        </p:txBody>
      </p:sp>
      <p:sp>
        <p:nvSpPr>
          <p:cNvPr id="29" name="Text 26">
            <a:extLst>
              <a:ext uri="{FF2B5EF4-FFF2-40B4-BE49-F238E27FC236}">
                <a16:creationId xmlns:a16="http://schemas.microsoft.com/office/drawing/2014/main" id="{23FA7774-1464-2E2A-0BD7-4052C0AA7C1D}"/>
              </a:ext>
            </a:extLst>
          </p:cNvPr>
          <p:cNvSpPr/>
          <p:nvPr/>
        </p:nvSpPr>
        <p:spPr>
          <a:xfrm>
            <a:off x="8679882" y="411789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Fieldglass</a:t>
            </a:r>
            <a:endParaRPr lang="en-US" sz="900">
              <a:solidFill>
                <a:srgbClr val="1D2D3E"/>
              </a:solidFill>
            </a:endParaRPr>
          </a:p>
        </p:txBody>
      </p:sp>
      <p:sp>
        <p:nvSpPr>
          <p:cNvPr id="30" name="Text 26">
            <a:extLst>
              <a:ext uri="{FF2B5EF4-FFF2-40B4-BE49-F238E27FC236}">
                <a16:creationId xmlns:a16="http://schemas.microsoft.com/office/drawing/2014/main" id="{3E8B3F1A-6F80-8B3D-225E-124AAB6B99D9}"/>
              </a:ext>
            </a:extLst>
          </p:cNvPr>
          <p:cNvSpPr/>
          <p:nvPr/>
        </p:nvSpPr>
        <p:spPr>
          <a:xfrm>
            <a:off x="8679882" y="433273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uccessFactors</a:t>
            </a:r>
            <a:endParaRPr lang="en-US" sz="900">
              <a:solidFill>
                <a:srgbClr val="1D2D3E"/>
              </a:solidFill>
            </a:endParaRPr>
          </a:p>
        </p:txBody>
      </p:sp>
      <p:sp>
        <p:nvSpPr>
          <p:cNvPr id="31" name="Text 26">
            <a:extLst>
              <a:ext uri="{FF2B5EF4-FFF2-40B4-BE49-F238E27FC236}">
                <a16:creationId xmlns:a16="http://schemas.microsoft.com/office/drawing/2014/main" id="{B1F238C6-6355-EDF7-18B1-CF975F0C4910}"/>
              </a:ext>
            </a:extLst>
          </p:cNvPr>
          <p:cNvSpPr/>
          <p:nvPr/>
        </p:nvSpPr>
        <p:spPr>
          <a:xfrm>
            <a:off x="8679882" y="454757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Ariba</a:t>
            </a:r>
            <a:endParaRPr lang="en-US" sz="900">
              <a:solidFill>
                <a:srgbClr val="1D2D3E"/>
              </a:solidFill>
            </a:endParaRPr>
          </a:p>
        </p:txBody>
      </p:sp>
      <p:sp>
        <p:nvSpPr>
          <p:cNvPr id="32" name="Text 26">
            <a:extLst>
              <a:ext uri="{FF2B5EF4-FFF2-40B4-BE49-F238E27FC236}">
                <a16:creationId xmlns:a16="http://schemas.microsoft.com/office/drawing/2014/main" id="{C21A389A-370E-8B35-2EDF-180974CE564F}"/>
              </a:ext>
            </a:extLst>
          </p:cNvPr>
          <p:cNvSpPr/>
          <p:nvPr/>
        </p:nvSpPr>
        <p:spPr>
          <a:xfrm>
            <a:off x="8679882" y="4758699"/>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Concur</a:t>
            </a:r>
            <a:endParaRPr lang="en-US" sz="900">
              <a:solidFill>
                <a:srgbClr val="1D2D3E"/>
              </a:solidFill>
            </a:endParaRPr>
          </a:p>
        </p:txBody>
      </p:sp>
      <p:sp>
        <p:nvSpPr>
          <p:cNvPr id="33" name="Text 26">
            <a:extLst>
              <a:ext uri="{FF2B5EF4-FFF2-40B4-BE49-F238E27FC236}">
                <a16:creationId xmlns:a16="http://schemas.microsoft.com/office/drawing/2014/main" id="{0169AB17-E944-CD8D-28C9-3BC9D795A45B}"/>
              </a:ext>
            </a:extLst>
          </p:cNvPr>
          <p:cNvSpPr/>
          <p:nvPr/>
        </p:nvSpPr>
        <p:spPr>
          <a:xfrm>
            <a:off x="8679881" y="4935018"/>
            <a:ext cx="1812633" cy="278222"/>
          </a:xfrm>
          <a:prstGeom prst="rect">
            <a:avLst/>
          </a:prstGeom>
          <a:noFill/>
          <a:ln/>
        </p:spPr>
        <p:txBody>
          <a:bodyPr wrap="square" lIns="0" tIns="0" rIns="0" bIns="0" rtlCol="0" anchor="t"/>
          <a:lstStyle/>
          <a:p>
            <a:pPr marL="0" indent="0">
              <a:lnSpc>
                <a:spcPts val="1100"/>
              </a:lnSpc>
              <a:buNone/>
            </a:pPr>
            <a:r>
              <a:rPr lang="en-US" sz="1000">
                <a:latin typeface="72 Bold" pitchFamily="34" charset="0"/>
                <a:ea typeface="72 Bold" pitchFamily="34" charset="-122"/>
                <a:cs typeface="72 Bold" pitchFamily="34" charset="-120"/>
              </a:rPr>
              <a:t>…</a:t>
            </a:r>
            <a:endParaRPr lang="en-US" sz="1000"/>
          </a:p>
        </p:txBody>
      </p:sp>
      <p:pic>
        <p:nvPicPr>
          <p:cNvPr id="34" name="Graphic 33">
            <a:extLst>
              <a:ext uri="{FF2B5EF4-FFF2-40B4-BE49-F238E27FC236}">
                <a16:creationId xmlns:a16="http://schemas.microsoft.com/office/drawing/2014/main" id="{8E0148AA-E6D2-93F9-FD37-E06E8F638C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0424" y="3392725"/>
            <a:ext cx="371397" cy="278548"/>
          </a:xfrm>
          <a:prstGeom prst="rect">
            <a:avLst/>
          </a:prstGeom>
        </p:spPr>
      </p:pic>
      <p:pic>
        <p:nvPicPr>
          <p:cNvPr id="35" name="Graphic 34">
            <a:extLst>
              <a:ext uri="{FF2B5EF4-FFF2-40B4-BE49-F238E27FC236}">
                <a16:creationId xmlns:a16="http://schemas.microsoft.com/office/drawing/2014/main" id="{F4C177D1-9D48-F24A-2EF1-9CD1A15CAA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flipV="1">
            <a:off x="8241201" y="2088210"/>
            <a:ext cx="286112" cy="286112"/>
          </a:xfrm>
          <a:prstGeom prst="rect">
            <a:avLst/>
          </a:prstGeom>
        </p:spPr>
      </p:pic>
      <p:pic>
        <p:nvPicPr>
          <p:cNvPr id="36" name="Graphic 35">
            <a:extLst>
              <a:ext uri="{FF2B5EF4-FFF2-40B4-BE49-F238E27FC236}">
                <a16:creationId xmlns:a16="http://schemas.microsoft.com/office/drawing/2014/main" id="{042BC7DD-4091-D674-5D3B-7D1F553287A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V="1">
            <a:off x="8265571" y="2597158"/>
            <a:ext cx="286111" cy="286111"/>
          </a:xfrm>
          <a:prstGeom prst="rect">
            <a:avLst/>
          </a:prstGeom>
        </p:spPr>
      </p:pic>
      <p:sp>
        <p:nvSpPr>
          <p:cNvPr id="37" name="Text 29">
            <a:extLst>
              <a:ext uri="{FF2B5EF4-FFF2-40B4-BE49-F238E27FC236}">
                <a16:creationId xmlns:a16="http://schemas.microsoft.com/office/drawing/2014/main" id="{1C39FDF1-8DCC-F75D-00E9-6D60199DA1BE}"/>
              </a:ext>
            </a:extLst>
          </p:cNvPr>
          <p:cNvSpPr/>
          <p:nvPr/>
        </p:nvSpPr>
        <p:spPr>
          <a:xfrm>
            <a:off x="8674087" y="2607407"/>
            <a:ext cx="695706" cy="184971"/>
          </a:xfrm>
          <a:prstGeom prst="rect">
            <a:avLst/>
          </a:prstGeom>
          <a:noFill/>
          <a:ln/>
        </p:spPr>
        <p:txBody>
          <a:bodyPr wrap="square" lIns="0" tIns="0" rIns="0" bIns="0" rtlCol="0" anchor="t"/>
          <a:lstStyle/>
          <a:p>
            <a:pPr marL="0" indent="0">
              <a:buNone/>
            </a:pPr>
            <a:r>
              <a:rPr lang="en-US" sz="800" b="1">
                <a:solidFill>
                  <a:srgbClr val="1D2D3E"/>
                </a:solidFill>
                <a:latin typeface="72 Semibold" pitchFamily="34" charset="0"/>
                <a:ea typeface="72 Semibold" pitchFamily="34" charset="-122"/>
                <a:cs typeface="72 Semibold" pitchFamily="34" charset="-120"/>
              </a:rPr>
              <a:t>Cloud Connector</a:t>
            </a:r>
            <a:endParaRPr lang="en-US" sz="800" b="1">
              <a:solidFill>
                <a:srgbClr val="1D2D3E"/>
              </a:solidFill>
            </a:endParaRPr>
          </a:p>
        </p:txBody>
      </p:sp>
      <p:cxnSp>
        <p:nvCxnSpPr>
          <p:cNvPr id="38" name="Straight Arrow Connector 37">
            <a:extLst>
              <a:ext uri="{FF2B5EF4-FFF2-40B4-BE49-F238E27FC236}">
                <a16:creationId xmlns:a16="http://schemas.microsoft.com/office/drawing/2014/main" id="{89212882-5DAD-629E-B4DA-B3B87256726A}"/>
              </a:ext>
            </a:extLst>
          </p:cNvPr>
          <p:cNvCxnSpPr>
            <a:cxnSpLocks/>
          </p:cNvCxnSpPr>
          <p:nvPr/>
        </p:nvCxnSpPr>
        <p:spPr>
          <a:xfrm>
            <a:off x="5944096" y="2792378"/>
            <a:ext cx="604074" cy="0"/>
          </a:xfrm>
          <a:prstGeom prst="straightConnector1">
            <a:avLst/>
          </a:prstGeom>
          <a:ln w="19050">
            <a:solidFill>
              <a:srgbClr val="188918"/>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Elbow Connector 173">
            <a:extLst>
              <a:ext uri="{FF2B5EF4-FFF2-40B4-BE49-F238E27FC236}">
                <a16:creationId xmlns:a16="http://schemas.microsoft.com/office/drawing/2014/main" id="{14EF1822-6642-BE51-19FE-DB7196AC723E}"/>
              </a:ext>
            </a:extLst>
          </p:cNvPr>
          <p:cNvCxnSpPr>
            <a:cxnSpLocks/>
            <a:stCxn id="26" idx="3"/>
            <a:endCxn id="22" idx="1"/>
          </p:cNvCxnSpPr>
          <p:nvPr/>
        </p:nvCxnSpPr>
        <p:spPr>
          <a:xfrm flipV="1">
            <a:off x="7153392" y="2479549"/>
            <a:ext cx="949664" cy="312829"/>
          </a:xfrm>
          <a:prstGeom prst="bentConnector3">
            <a:avLst>
              <a:gd name="adj1" fmla="val 48055"/>
            </a:avLst>
          </a:prstGeom>
          <a:ln w="19050" cap="rnd">
            <a:solidFill>
              <a:srgbClr val="188918"/>
            </a:solidFill>
            <a:round/>
            <a:headEnd w="med" len="med"/>
            <a:tailEnd type="triangle" w="sm" len="med"/>
          </a:ln>
        </p:spPr>
        <p:style>
          <a:lnRef idx="1">
            <a:schemeClr val="accent1"/>
          </a:lnRef>
          <a:fillRef idx="0">
            <a:schemeClr val="accent1"/>
          </a:fillRef>
          <a:effectRef idx="0">
            <a:schemeClr val="accent1"/>
          </a:effectRef>
          <a:fontRef idx="minor">
            <a:schemeClr val="tx1"/>
          </a:fontRef>
        </p:style>
      </p:cxnSp>
      <p:cxnSp>
        <p:nvCxnSpPr>
          <p:cNvPr id="42" name="Elbow Connector 173">
            <a:extLst>
              <a:ext uri="{FF2B5EF4-FFF2-40B4-BE49-F238E27FC236}">
                <a16:creationId xmlns:a16="http://schemas.microsoft.com/office/drawing/2014/main" id="{AE3085C2-484A-8606-8865-21F7A890C477}"/>
              </a:ext>
            </a:extLst>
          </p:cNvPr>
          <p:cNvCxnSpPr>
            <a:cxnSpLocks/>
            <a:stCxn id="26" idx="3"/>
            <a:endCxn id="24" idx="1"/>
          </p:cNvCxnSpPr>
          <p:nvPr/>
        </p:nvCxnSpPr>
        <p:spPr>
          <a:xfrm>
            <a:off x="7153392" y="2792378"/>
            <a:ext cx="923908" cy="1443123"/>
          </a:xfrm>
          <a:prstGeom prst="bentConnector3">
            <a:avLst>
              <a:gd name="adj1" fmla="val 50000"/>
            </a:avLst>
          </a:prstGeom>
          <a:ln w="19050" cap="rnd">
            <a:solidFill>
              <a:srgbClr val="188918"/>
            </a:solidFill>
            <a:round/>
            <a:headEnd w="med" len="med"/>
            <a:tailEnd type="triangle" w="sm"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D71FD4DA-CDC3-ED89-B5CB-9AC8D397A4FD}"/>
              </a:ext>
            </a:extLst>
          </p:cNvPr>
          <p:cNvPicPr>
            <a:picLocks noChangeAspect="1"/>
          </p:cNvPicPr>
          <p:nvPr/>
        </p:nvPicPr>
        <p:blipFill>
          <a:blip r:embed="rId15"/>
          <a:stretch>
            <a:fillRect/>
          </a:stretch>
        </p:blipFill>
        <p:spPr>
          <a:xfrm>
            <a:off x="1176244" y="3636314"/>
            <a:ext cx="619125" cy="1533525"/>
          </a:xfrm>
          <a:prstGeom prst="rect">
            <a:avLst/>
          </a:prstGeom>
        </p:spPr>
      </p:pic>
      <p:cxnSp>
        <p:nvCxnSpPr>
          <p:cNvPr id="62" name="Connector: Elbow 61">
            <a:extLst>
              <a:ext uri="{FF2B5EF4-FFF2-40B4-BE49-F238E27FC236}">
                <a16:creationId xmlns:a16="http://schemas.microsoft.com/office/drawing/2014/main" id="{048BCEF5-94C2-BE32-04C1-DD0956B927A9}"/>
              </a:ext>
            </a:extLst>
          </p:cNvPr>
          <p:cNvCxnSpPr>
            <a:cxnSpLocks/>
            <a:stCxn id="7" idx="3"/>
          </p:cNvCxnSpPr>
          <p:nvPr/>
        </p:nvCxnSpPr>
        <p:spPr>
          <a:xfrm>
            <a:off x="1733457" y="2621126"/>
            <a:ext cx="1108744" cy="234138"/>
          </a:xfrm>
          <a:prstGeom prst="bentConnector3">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3072" name="Connector: Elbow 3071">
            <a:extLst>
              <a:ext uri="{FF2B5EF4-FFF2-40B4-BE49-F238E27FC236}">
                <a16:creationId xmlns:a16="http://schemas.microsoft.com/office/drawing/2014/main" id="{2E8B8543-2CE6-52B2-871A-C6C512F46C81}"/>
              </a:ext>
            </a:extLst>
          </p:cNvPr>
          <p:cNvCxnSpPr>
            <a:cxnSpLocks/>
            <a:stCxn id="47" idx="3"/>
          </p:cNvCxnSpPr>
          <p:nvPr/>
        </p:nvCxnSpPr>
        <p:spPr>
          <a:xfrm flipV="1">
            <a:off x="1795369" y="2855264"/>
            <a:ext cx="1046832" cy="1547813"/>
          </a:xfrm>
          <a:prstGeom prst="bentConnector3">
            <a:avLst>
              <a:gd name="adj1" fmla="val 47353"/>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3076" name="Connector: Elbow 3075">
            <a:extLst>
              <a:ext uri="{FF2B5EF4-FFF2-40B4-BE49-F238E27FC236}">
                <a16:creationId xmlns:a16="http://schemas.microsoft.com/office/drawing/2014/main" id="{37FBAFF0-0E8F-8364-2AD7-62204E56C6E3}"/>
              </a:ext>
            </a:extLst>
          </p:cNvPr>
          <p:cNvCxnSpPr>
            <a:cxnSpLocks/>
          </p:cNvCxnSpPr>
          <p:nvPr/>
        </p:nvCxnSpPr>
        <p:spPr>
          <a:xfrm flipV="1">
            <a:off x="3442883" y="2850260"/>
            <a:ext cx="1226696" cy="5004"/>
          </a:xfrm>
          <a:prstGeom prst="bentConnector3">
            <a:avLst>
              <a:gd name="adj1" fmla="val 48494"/>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3080" name="Rounded Rectangle 34">
            <a:extLst>
              <a:ext uri="{FF2B5EF4-FFF2-40B4-BE49-F238E27FC236}">
                <a16:creationId xmlns:a16="http://schemas.microsoft.com/office/drawing/2014/main" id="{04B225B3-756B-ED2D-05A7-A99498BABE86}"/>
              </a:ext>
            </a:extLst>
          </p:cNvPr>
          <p:cNvSpPr/>
          <p:nvPr/>
        </p:nvSpPr>
        <p:spPr>
          <a:xfrm>
            <a:off x="3709416" y="2792378"/>
            <a:ext cx="605222" cy="154428"/>
          </a:xfrm>
          <a:prstGeom prst="roundRect">
            <a:avLst>
              <a:gd name="adj" fmla="val 50000"/>
            </a:avLst>
          </a:prstGeom>
          <a:solidFill>
            <a:srgbClr val="188918"/>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bg1"/>
                </a:solidFill>
                <a:latin typeface="72" panose="020B0503030000000003" pitchFamily="34" charset="0"/>
                <a:cs typeface="72" panose="020B0503030000000003" pitchFamily="34" charset="0"/>
              </a:rPr>
              <a:t>Trust</a:t>
            </a:r>
          </a:p>
        </p:txBody>
      </p:sp>
      <p:sp>
        <p:nvSpPr>
          <p:cNvPr id="4" name="TextBox 3">
            <a:extLst>
              <a:ext uri="{FF2B5EF4-FFF2-40B4-BE49-F238E27FC236}">
                <a16:creationId xmlns:a16="http://schemas.microsoft.com/office/drawing/2014/main" id="{C70C916C-4404-00DD-0399-FD423235F4C4}"/>
              </a:ext>
            </a:extLst>
          </p:cNvPr>
          <p:cNvSpPr txBox="1"/>
          <p:nvPr/>
        </p:nvSpPr>
        <p:spPr>
          <a:xfrm>
            <a:off x="588263" y="5765241"/>
            <a:ext cx="10497299" cy="635559"/>
          </a:xfrm>
          <a:prstGeom prst="rect">
            <a:avLst/>
          </a:prstGeom>
          <a:noFill/>
        </p:spPr>
        <p:txBody>
          <a:bodyPr wrap="square">
            <a:spAutoFit/>
          </a:bodyPr>
          <a:lstStyle/>
          <a:p>
            <a:r>
              <a:rPr lang="en-US">
                <a:hlinkClick r:id="rId16"/>
              </a:rPr>
              <a:t>Scenario - Using Microsoft Entra ID to secure access to SAP platforms and applications</a:t>
            </a:r>
            <a:endParaRPr lang="en-US"/>
          </a:p>
          <a:p>
            <a:r>
              <a:rPr lang="en-US">
                <a:hlinkClick r:id="rId17"/>
              </a:rPr>
              <a:t>Tutorial: Microsoft Entra single </a:t>
            </a:r>
            <a:r>
              <a:rPr lang="en-US" err="1">
                <a:hlinkClick r:id="rId17"/>
              </a:rPr>
              <a:t>sign-on</a:t>
            </a:r>
            <a:r>
              <a:rPr lang="en-US">
                <a:hlinkClick r:id="rId17"/>
              </a:rPr>
              <a:t> (SSO) integration with SAP Cloud Identity Services</a:t>
            </a:r>
            <a:endParaRPr lang="en-US"/>
          </a:p>
        </p:txBody>
      </p:sp>
    </p:spTree>
    <p:extLst>
      <p:ext uri="{BB962C8B-B14F-4D97-AF65-F5344CB8AC3E}">
        <p14:creationId xmlns:p14="http://schemas.microsoft.com/office/powerpoint/2010/main" val="35127454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3AEA64-2791-1CB7-59F7-591BE3A1562A}"/>
              </a:ext>
            </a:extLst>
          </p:cNvPr>
          <p:cNvSpPr>
            <a:spLocks noGrp="1"/>
          </p:cNvSpPr>
          <p:nvPr>
            <p:ph type="title"/>
          </p:nvPr>
        </p:nvSpPr>
        <p:spPr/>
        <p:txBody>
          <a:bodyPr/>
          <a:lstStyle/>
          <a:p>
            <a:r>
              <a:rPr lang="en-US"/>
              <a:t>Demo – SSO Config</a:t>
            </a:r>
          </a:p>
        </p:txBody>
      </p:sp>
      <p:sp>
        <p:nvSpPr>
          <p:cNvPr id="5" name="Text Placeholder 4">
            <a:extLst>
              <a:ext uri="{FF2B5EF4-FFF2-40B4-BE49-F238E27FC236}">
                <a16:creationId xmlns:a16="http://schemas.microsoft.com/office/drawing/2014/main" id="{FE0F9D46-0BF3-AA96-5883-773413AA5BB2}"/>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419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ECC</a:t>
            </a:r>
          </a:p>
        </p:txBody>
      </p:sp>
      <p:sp>
        <p:nvSpPr>
          <p:cNvPr id="3" name="Content Placeholder 2">
            <a:extLst>
              <a:ext uri="{FF2B5EF4-FFF2-40B4-BE49-F238E27FC236}">
                <a16:creationId xmlns:a16="http://schemas.microsoft.com/office/drawing/2014/main" id="{99F4A27F-69DC-ADAA-488A-4A8EAFE1848A}"/>
              </a:ext>
            </a:extLst>
          </p:cNvPr>
          <p:cNvSpPr>
            <a:spLocks noGrp="1"/>
          </p:cNvSpPr>
          <p:nvPr>
            <p:ph sz="quarter" idx="10"/>
          </p:nvPr>
        </p:nvSpPr>
        <p:spPr>
          <a:xfrm>
            <a:off x="584200" y="1435100"/>
            <a:ext cx="5884694" cy="3274743"/>
          </a:xfrm>
        </p:spPr>
        <p:txBody>
          <a:bodyPr/>
          <a:lstStyle/>
          <a:p>
            <a:r>
              <a:rPr lang="en-US"/>
              <a:t>Use Kerberos SSO if your users accounts are on On-Prem AD DS and SAP version doesn’t support SAML/OAuth</a:t>
            </a:r>
          </a:p>
          <a:p>
            <a:pPr marL="0" indent="0">
              <a:buNone/>
            </a:pPr>
            <a:endParaRPr lang="en-US"/>
          </a:p>
          <a:p>
            <a:endParaRPr lang="en-US"/>
          </a:p>
          <a:p>
            <a:endParaRPr lang="en-US"/>
          </a:p>
        </p:txBody>
      </p:sp>
      <p:pic>
        <p:nvPicPr>
          <p:cNvPr id="5" name="Picture 4">
            <a:extLst>
              <a:ext uri="{FF2B5EF4-FFF2-40B4-BE49-F238E27FC236}">
                <a16:creationId xmlns:a16="http://schemas.microsoft.com/office/drawing/2014/main" id="{FD264522-D30F-E3D7-9383-E62CCDA1210C}"/>
              </a:ext>
            </a:extLst>
          </p:cNvPr>
          <p:cNvPicPr>
            <a:picLocks noChangeAspect="1"/>
          </p:cNvPicPr>
          <p:nvPr/>
        </p:nvPicPr>
        <p:blipFill>
          <a:blip r:embed="rId3"/>
          <a:stretch>
            <a:fillRect/>
          </a:stretch>
        </p:blipFill>
        <p:spPr>
          <a:xfrm>
            <a:off x="732227" y="3307059"/>
            <a:ext cx="4219119" cy="2629551"/>
          </a:xfrm>
          <a:prstGeom prst="rect">
            <a:avLst/>
          </a:prstGeom>
        </p:spPr>
      </p:pic>
      <p:sp>
        <p:nvSpPr>
          <p:cNvPr id="6" name="TextBox 5">
            <a:extLst>
              <a:ext uri="{FF2B5EF4-FFF2-40B4-BE49-F238E27FC236}">
                <a16:creationId xmlns:a16="http://schemas.microsoft.com/office/drawing/2014/main" id="{96536F9D-13CD-5556-61D7-BC1AAA0E116E}"/>
              </a:ext>
            </a:extLst>
          </p:cNvPr>
          <p:cNvSpPr txBox="1"/>
          <p:nvPr/>
        </p:nvSpPr>
        <p:spPr>
          <a:xfrm>
            <a:off x="803563" y="5997381"/>
            <a:ext cx="5292437" cy="1178784"/>
          </a:xfrm>
          <a:prstGeom prst="rect">
            <a:avLst/>
          </a:prstGeom>
          <a:noFill/>
        </p:spPr>
        <p:txBody>
          <a:bodyPr wrap="square">
            <a:spAutoFit/>
          </a:bodyPr>
          <a:lstStyle/>
          <a:p>
            <a:r>
              <a:rPr lang="en-US">
                <a:hlinkClick r:id="rId4"/>
              </a:rPr>
              <a:t>SAP Single Sign-On: Authenticate with Kerberos/SPN... - SAP Community</a:t>
            </a:r>
            <a:endParaRPr lang="en-US"/>
          </a:p>
          <a:p>
            <a:endParaRPr lang="en-US"/>
          </a:p>
          <a:p>
            <a:endParaRPr lang="en-US"/>
          </a:p>
        </p:txBody>
      </p:sp>
      <p:sp>
        <p:nvSpPr>
          <p:cNvPr id="8" name="TextBox 7">
            <a:extLst>
              <a:ext uri="{FF2B5EF4-FFF2-40B4-BE49-F238E27FC236}">
                <a16:creationId xmlns:a16="http://schemas.microsoft.com/office/drawing/2014/main" id="{5302056D-157B-99FD-D800-8C9BC2E53F54}"/>
              </a:ext>
            </a:extLst>
          </p:cNvPr>
          <p:cNvSpPr txBox="1"/>
          <p:nvPr/>
        </p:nvSpPr>
        <p:spPr>
          <a:xfrm>
            <a:off x="6785044" y="6002230"/>
            <a:ext cx="5292437" cy="635559"/>
          </a:xfrm>
          <a:prstGeom prst="rect">
            <a:avLst/>
          </a:prstGeom>
          <a:noFill/>
        </p:spPr>
        <p:txBody>
          <a:bodyPr wrap="square">
            <a:spAutoFit/>
          </a:bodyPr>
          <a:lstStyle/>
          <a:p>
            <a:r>
              <a:rPr lang="en-US">
                <a:hlinkClick r:id="rId5"/>
              </a:rPr>
              <a:t>Tutorial: Microsoft Entra single </a:t>
            </a:r>
            <a:r>
              <a:rPr lang="en-US" err="1">
                <a:hlinkClick r:id="rId5"/>
              </a:rPr>
              <a:t>sign-on</a:t>
            </a:r>
            <a:r>
              <a:rPr lang="en-US">
                <a:hlinkClick r:id="rId5"/>
              </a:rPr>
              <a:t> (SSO) integration with SAP NetWeaver </a:t>
            </a:r>
            <a:endParaRPr lang="en-US"/>
          </a:p>
        </p:txBody>
      </p:sp>
      <p:sp>
        <p:nvSpPr>
          <p:cNvPr id="11" name="Content Placeholder 2">
            <a:extLst>
              <a:ext uri="{FF2B5EF4-FFF2-40B4-BE49-F238E27FC236}">
                <a16:creationId xmlns:a16="http://schemas.microsoft.com/office/drawing/2014/main" id="{3FC72106-9173-9BC0-4F64-7D20BE1F33CF}"/>
              </a:ext>
            </a:extLst>
          </p:cNvPr>
          <p:cNvSpPr txBox="1">
            <a:spLocks/>
          </p:cNvSpPr>
          <p:nvPr/>
        </p:nvSpPr>
        <p:spPr>
          <a:xfrm>
            <a:off x="6468894" y="1440234"/>
            <a:ext cx="5884694" cy="190821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Use SAML or OAUTH SSO with Entra ID if you have:</a:t>
            </a:r>
          </a:p>
          <a:p>
            <a:pPr lvl="1"/>
            <a:r>
              <a:rPr lang="en-US"/>
              <a:t>SAP NetWeaver single </a:t>
            </a:r>
            <a:r>
              <a:rPr lang="en-US" err="1"/>
              <a:t>sign-on</a:t>
            </a:r>
            <a:r>
              <a:rPr lang="en-US"/>
              <a:t> (SSO) enabled subscription.</a:t>
            </a:r>
          </a:p>
          <a:p>
            <a:pPr lvl="1"/>
            <a:r>
              <a:rPr lang="en-US"/>
              <a:t>SAP NetWeaver V7.20 or later</a:t>
            </a:r>
          </a:p>
        </p:txBody>
      </p:sp>
      <p:pic>
        <p:nvPicPr>
          <p:cNvPr id="12" name="Picture 11">
            <a:extLst>
              <a:ext uri="{FF2B5EF4-FFF2-40B4-BE49-F238E27FC236}">
                <a16:creationId xmlns:a16="http://schemas.microsoft.com/office/drawing/2014/main" id="{A203F699-C413-A454-2337-283723621C71}"/>
              </a:ext>
            </a:extLst>
          </p:cNvPr>
          <p:cNvPicPr>
            <a:picLocks noChangeAspect="1"/>
          </p:cNvPicPr>
          <p:nvPr/>
        </p:nvPicPr>
        <p:blipFill>
          <a:blip r:embed="rId6"/>
          <a:stretch>
            <a:fillRect/>
          </a:stretch>
        </p:blipFill>
        <p:spPr>
          <a:xfrm>
            <a:off x="7124481" y="3889033"/>
            <a:ext cx="4953000" cy="1266825"/>
          </a:xfrm>
          <a:prstGeom prst="rect">
            <a:avLst/>
          </a:prstGeom>
        </p:spPr>
      </p:pic>
      <p:cxnSp>
        <p:nvCxnSpPr>
          <p:cNvPr id="14" name="Straight Connector 13">
            <a:extLst>
              <a:ext uri="{FF2B5EF4-FFF2-40B4-BE49-F238E27FC236}">
                <a16:creationId xmlns:a16="http://schemas.microsoft.com/office/drawing/2014/main" id="{3B3F10C5-F987-B3EF-74CD-8CBC0EA0C0E5}"/>
              </a:ext>
            </a:extLst>
          </p:cNvPr>
          <p:cNvCxnSpPr/>
          <p:nvPr/>
        </p:nvCxnSpPr>
        <p:spPr>
          <a:xfrm>
            <a:off x="6096000" y="1435100"/>
            <a:ext cx="71336" cy="4498772"/>
          </a:xfrm>
          <a:prstGeom prst="line">
            <a:avLst/>
          </a:prstGeom>
          <a:ln w="12700">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631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55F6-DD9E-2CF0-41E7-F10DCD2E56C3}"/>
              </a:ext>
            </a:extLst>
          </p:cNvPr>
          <p:cNvSpPr>
            <a:spLocks noGrp="1"/>
          </p:cNvSpPr>
          <p:nvPr>
            <p:ph type="title"/>
          </p:nvPr>
        </p:nvSpPr>
        <p:spPr/>
        <p:txBody>
          <a:bodyPr/>
          <a:lstStyle/>
          <a:p>
            <a:r>
              <a:rPr lang="en-US"/>
              <a:t>Migrate User Management Scenario</a:t>
            </a:r>
          </a:p>
        </p:txBody>
      </p:sp>
      <p:sp>
        <p:nvSpPr>
          <p:cNvPr id="3" name="Content Placeholder 2">
            <a:extLst>
              <a:ext uri="{FF2B5EF4-FFF2-40B4-BE49-F238E27FC236}">
                <a16:creationId xmlns:a16="http://schemas.microsoft.com/office/drawing/2014/main" id="{A4E1D732-F3D8-09B5-A498-1C445ADC4935}"/>
              </a:ext>
            </a:extLst>
          </p:cNvPr>
          <p:cNvSpPr>
            <a:spLocks noGrp="1"/>
          </p:cNvSpPr>
          <p:nvPr>
            <p:ph sz="quarter" idx="10"/>
          </p:nvPr>
        </p:nvSpPr>
        <p:spPr>
          <a:xfrm>
            <a:off x="584200" y="1435100"/>
            <a:ext cx="11018838" cy="5343001"/>
          </a:xfrm>
        </p:spPr>
        <p:txBody>
          <a:bodyPr/>
          <a:lstStyle/>
          <a:p>
            <a:pPr marL="0" indent="0">
              <a:buNone/>
            </a:pPr>
            <a:r>
              <a:rPr lang="pt-BR"/>
              <a:t>IT Administrators uses </a:t>
            </a:r>
            <a:r>
              <a:rPr lang="en-US" b="0" i="0">
                <a:solidFill>
                  <a:srgbClr val="161616"/>
                </a:solidFill>
                <a:effectLst/>
                <a:highlight>
                  <a:srgbClr val="FFFFFF"/>
                </a:highlight>
                <a:latin typeface="Segoe UI" panose="020B0502040204020203" pitchFamily="34" charset="0"/>
              </a:rPr>
              <a:t>Microsoft Entra Admin Center, Microsoft Graph API or PowerShell to perform day-to-day identity management activities such as:</a:t>
            </a:r>
          </a:p>
          <a:p>
            <a:r>
              <a:rPr lang="en-US">
                <a:solidFill>
                  <a:srgbClr val="161616"/>
                </a:solidFill>
                <a:highlight>
                  <a:srgbClr val="FFFFFF"/>
                </a:highlight>
                <a:latin typeface="Segoe UI" panose="020B0502040204020203" pitchFamily="34" charset="0"/>
                <a:hlinkClick r:id="rId3"/>
              </a:rPr>
              <a:t>User management</a:t>
            </a:r>
            <a:r>
              <a:rPr lang="en-US" b="1">
                <a:solidFill>
                  <a:srgbClr val="161616"/>
                </a:solidFill>
                <a:highlight>
                  <a:srgbClr val="FFFFFF"/>
                </a:highlight>
                <a:latin typeface="Segoe UI" panose="020B0502040204020203" pitchFamily="34" charset="0"/>
              </a:rPr>
              <a:t>*</a:t>
            </a:r>
          </a:p>
          <a:p>
            <a:r>
              <a:rPr lang="en-US" b="0" i="0">
                <a:solidFill>
                  <a:srgbClr val="161616"/>
                </a:solidFill>
                <a:effectLst/>
                <a:highlight>
                  <a:srgbClr val="FFFFFF"/>
                </a:highlight>
                <a:latin typeface="Segoe UI" panose="020B0502040204020203" pitchFamily="34" charset="0"/>
              </a:rPr>
              <a:t>Group Management</a:t>
            </a:r>
            <a:r>
              <a:rPr lang="en-US" b="1" i="0">
                <a:solidFill>
                  <a:srgbClr val="161616"/>
                </a:solidFill>
                <a:effectLst/>
                <a:highlight>
                  <a:srgbClr val="FFFFFF"/>
                </a:highlight>
                <a:latin typeface="Segoe UI" panose="020B0502040204020203" pitchFamily="34" charset="0"/>
              </a:rPr>
              <a:t>*</a:t>
            </a:r>
          </a:p>
          <a:p>
            <a:r>
              <a:rPr lang="en-US">
                <a:solidFill>
                  <a:srgbClr val="161616"/>
                </a:solidFill>
                <a:highlight>
                  <a:srgbClr val="FFFFFF"/>
                </a:highlight>
                <a:latin typeface="Segoe UI" panose="020B0502040204020203" pitchFamily="34" charset="0"/>
              </a:rPr>
              <a:t>Provisioning (HR Inbound, Target App)</a:t>
            </a:r>
          </a:p>
          <a:p>
            <a:r>
              <a:rPr lang="en-US" b="0" i="0">
                <a:solidFill>
                  <a:srgbClr val="161616"/>
                </a:solidFill>
                <a:effectLst/>
                <a:highlight>
                  <a:srgbClr val="FFFFFF"/>
                </a:highlight>
                <a:latin typeface="Segoe UI" panose="020B0502040204020203" pitchFamily="34" charset="0"/>
              </a:rPr>
              <a:t>Access Policies and Entitlement Management</a:t>
            </a:r>
          </a:p>
          <a:p>
            <a:r>
              <a:rPr lang="en-US">
                <a:solidFill>
                  <a:srgbClr val="161616"/>
                </a:solidFill>
                <a:highlight>
                  <a:srgbClr val="FFFFFF"/>
                </a:highlight>
                <a:latin typeface="Segoe UI" panose="020B0502040204020203" pitchFamily="34" charset="0"/>
              </a:rPr>
              <a:t>Audit, Monitoring and Reporting</a:t>
            </a:r>
          </a:p>
          <a:p>
            <a:endParaRPr lang="en-US">
              <a:solidFill>
                <a:srgbClr val="161616"/>
              </a:solidFill>
              <a:highlight>
                <a:srgbClr val="FFFFFF"/>
              </a:highlight>
              <a:latin typeface="Segoe UI" panose="020B0502040204020203" pitchFamily="34" charset="0"/>
            </a:endParaRPr>
          </a:p>
          <a:p>
            <a:pPr marL="0" indent="0">
              <a:buNone/>
            </a:pPr>
            <a:r>
              <a:rPr lang="en-US" b="1">
                <a:solidFill>
                  <a:srgbClr val="161616"/>
                </a:solidFill>
                <a:highlight>
                  <a:srgbClr val="FFFFFF"/>
                </a:highlight>
                <a:latin typeface="Segoe UI" panose="020B0502040204020203" pitchFamily="34" charset="0"/>
              </a:rPr>
              <a:t>*</a:t>
            </a:r>
            <a:r>
              <a:rPr lang="en-US">
                <a:solidFill>
                  <a:srgbClr val="161616"/>
                </a:solidFill>
                <a:highlight>
                  <a:srgbClr val="FFFFFF"/>
                </a:highlight>
                <a:latin typeface="Segoe UI" panose="020B0502040204020203" pitchFamily="34" charset="0"/>
              </a:rPr>
              <a:t> For Hybrid environments with On-Premises Active Directory, AD Admin Center, ADUC or PowerShell and are the main tools</a:t>
            </a:r>
            <a:endParaRPr lang="en-US"/>
          </a:p>
        </p:txBody>
      </p:sp>
    </p:spTree>
    <p:extLst>
      <p:ext uri="{BB962C8B-B14F-4D97-AF65-F5344CB8AC3E}">
        <p14:creationId xmlns:p14="http://schemas.microsoft.com/office/powerpoint/2010/main" val="582873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1ABFD3C-3D97-E0A9-8617-886C4399217B}"/>
              </a:ext>
            </a:extLst>
          </p:cNvPr>
          <p:cNvSpPr>
            <a:spLocks noGrp="1"/>
          </p:cNvSpPr>
          <p:nvPr>
            <p:ph type="title"/>
          </p:nvPr>
        </p:nvSpPr>
        <p:spPr/>
        <p:txBody>
          <a:bodyPr/>
          <a:lstStyle/>
          <a:p>
            <a:r>
              <a:rPr lang="pt-BR"/>
              <a:t>Agenda</a:t>
            </a:r>
            <a:endParaRPr lang="en-US"/>
          </a:p>
        </p:txBody>
      </p:sp>
      <p:sp>
        <p:nvSpPr>
          <p:cNvPr id="12" name="Text Placeholder 11">
            <a:extLst>
              <a:ext uri="{FF2B5EF4-FFF2-40B4-BE49-F238E27FC236}">
                <a16:creationId xmlns:a16="http://schemas.microsoft.com/office/drawing/2014/main" id="{E9E5D267-75D0-2F72-BC2C-627BA6CBC7A8}"/>
              </a:ext>
            </a:extLst>
          </p:cNvPr>
          <p:cNvSpPr>
            <a:spLocks noGrp="1"/>
          </p:cNvSpPr>
          <p:nvPr>
            <p:ph type="body" sz="quarter" idx="10"/>
          </p:nvPr>
        </p:nvSpPr>
        <p:spPr>
          <a:xfrm>
            <a:off x="584200" y="1435100"/>
            <a:ext cx="5212080" cy="4924425"/>
          </a:xfrm>
        </p:spPr>
        <p:txBody>
          <a:bodyPr/>
          <a:lstStyle/>
          <a:p>
            <a:pPr marL="342900" indent="-342900">
              <a:buFont typeface="Arial" panose="020B0604020202020204" pitchFamily="34" charset="0"/>
              <a:buChar char="•"/>
            </a:pPr>
            <a:r>
              <a:rPr lang="en-US" sz="2000"/>
              <a:t>IAM &amp; SAP Modernization</a:t>
            </a:r>
          </a:p>
          <a:p>
            <a:pPr marL="342900" indent="-342900">
              <a:buFont typeface="Arial" panose="020B0604020202020204" pitchFamily="34" charset="0"/>
              <a:buChar char="•"/>
            </a:pPr>
            <a:r>
              <a:rPr lang="en-US" sz="2000"/>
              <a:t>SAP IDM Migration Path</a:t>
            </a:r>
          </a:p>
          <a:p>
            <a:pPr marL="342900" indent="-342900">
              <a:buFont typeface="Arial" panose="020B0604020202020204" pitchFamily="34" charset="0"/>
              <a:buChar char="•"/>
            </a:pPr>
            <a:r>
              <a:rPr lang="en-US" sz="2000"/>
              <a:t>HR Provisioning</a:t>
            </a:r>
          </a:p>
          <a:p>
            <a:pPr marL="342900" indent="-342900">
              <a:buFont typeface="Arial" panose="020B0604020202020204" pitchFamily="34" charset="0"/>
              <a:buChar char="•"/>
            </a:pPr>
            <a:r>
              <a:rPr lang="en-US" sz="2000"/>
              <a:t>Single Sign-On</a:t>
            </a:r>
          </a:p>
          <a:p>
            <a:pPr marL="342900" indent="-342900">
              <a:buFont typeface="Arial" panose="020B0604020202020204" pitchFamily="34" charset="0"/>
              <a:buChar char="•"/>
            </a:pPr>
            <a:r>
              <a:rPr lang="en-US" sz="2000"/>
              <a:t>App Provisioning</a:t>
            </a:r>
          </a:p>
          <a:p>
            <a:pPr marL="342900" indent="-342900">
              <a:buFont typeface="Arial" panose="020B0604020202020204" pitchFamily="34" charset="0"/>
              <a:buChar char="•"/>
            </a:pPr>
            <a:r>
              <a:rPr lang="en-US" sz="2000"/>
              <a:t>Access Management</a:t>
            </a:r>
          </a:p>
          <a:p>
            <a:pPr marL="342900" indent="-342900">
              <a:buFont typeface="Arial" panose="020B0604020202020204" pitchFamily="34" charset="0"/>
              <a:buChar char="•"/>
            </a:pPr>
            <a:r>
              <a:rPr lang="en-US" sz="2000"/>
              <a:t>Reporting</a:t>
            </a:r>
          </a:p>
          <a:p>
            <a:pPr marL="342900" indent="-342900">
              <a:buFont typeface="Arial" panose="020B0604020202020204" pitchFamily="34" charset="0"/>
              <a:buChar char="•"/>
            </a:pPr>
            <a:r>
              <a:rPr lang="en-US" sz="2000"/>
              <a:t>SAP IDM Migration Roadmap</a:t>
            </a:r>
          </a:p>
          <a:p>
            <a:pPr marL="342900" indent="-342900">
              <a:buFont typeface="Arial" panose="020B0604020202020204" pitchFamily="34" charset="0"/>
              <a:buChar char="•"/>
            </a:pPr>
            <a:r>
              <a:rPr lang="en-US" sz="2000"/>
              <a:t>SAP Integration Roadmap</a:t>
            </a:r>
          </a:p>
          <a:p>
            <a:pPr marL="342900" indent="-342900">
              <a:buFont typeface="Arial" panose="020B0604020202020204" pitchFamily="34" charset="0"/>
              <a:buChar char="•"/>
            </a:pPr>
            <a:r>
              <a:rPr lang="en-US" sz="2000"/>
              <a:t>Reference Architecture</a:t>
            </a:r>
          </a:p>
          <a:p>
            <a:pPr marL="342900" indent="-342900">
              <a:buFont typeface="Arial" panose="020B0604020202020204" pitchFamily="34" charset="0"/>
              <a:buChar char="•"/>
            </a:pPr>
            <a:r>
              <a:rPr lang="en-US" sz="2000"/>
              <a:t>Q&amp;A</a:t>
            </a:r>
          </a:p>
        </p:txBody>
      </p:sp>
    </p:spTree>
    <p:extLst>
      <p:ext uri="{BB962C8B-B14F-4D97-AF65-F5344CB8AC3E}">
        <p14:creationId xmlns:p14="http://schemas.microsoft.com/office/powerpoint/2010/main" val="28790282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55F6-DD9E-2CF0-41E7-F10DCD2E56C3}"/>
              </a:ext>
            </a:extLst>
          </p:cNvPr>
          <p:cNvSpPr>
            <a:spLocks noGrp="1"/>
          </p:cNvSpPr>
          <p:nvPr>
            <p:ph type="title"/>
          </p:nvPr>
        </p:nvSpPr>
        <p:spPr/>
        <p:txBody>
          <a:bodyPr/>
          <a:lstStyle/>
          <a:p>
            <a:r>
              <a:rPr lang="en-US"/>
              <a:t>Migrate User Management Scenario</a:t>
            </a:r>
          </a:p>
        </p:txBody>
      </p:sp>
      <p:sp>
        <p:nvSpPr>
          <p:cNvPr id="3" name="Content Placeholder 2">
            <a:extLst>
              <a:ext uri="{FF2B5EF4-FFF2-40B4-BE49-F238E27FC236}">
                <a16:creationId xmlns:a16="http://schemas.microsoft.com/office/drawing/2014/main" id="{A4E1D732-F3D8-09B5-A498-1C445ADC4935}"/>
              </a:ext>
            </a:extLst>
          </p:cNvPr>
          <p:cNvSpPr>
            <a:spLocks noGrp="1"/>
          </p:cNvSpPr>
          <p:nvPr>
            <p:ph sz="quarter" idx="10"/>
          </p:nvPr>
        </p:nvSpPr>
        <p:spPr>
          <a:xfrm>
            <a:off x="584200" y="1435100"/>
            <a:ext cx="11018838" cy="3964162"/>
          </a:xfrm>
        </p:spPr>
        <p:txBody>
          <a:bodyPr/>
          <a:lstStyle/>
          <a:p>
            <a:pPr marL="0" indent="0">
              <a:buNone/>
            </a:pPr>
            <a:r>
              <a:rPr lang="en-US"/>
              <a:t>If not already in use by IAM team, use Microsoft Entra Features to improve User Management and Identity Security:</a:t>
            </a:r>
          </a:p>
          <a:p>
            <a:r>
              <a:rPr lang="nn-NO">
                <a:hlinkClick r:id="rId3"/>
              </a:rPr>
              <a:t>Enable Microsoft Entra Password Protection</a:t>
            </a:r>
            <a:endParaRPr lang="nn-NO"/>
          </a:p>
          <a:p>
            <a:r>
              <a:rPr lang="en-US">
                <a:hlinkClick r:id="rId4"/>
              </a:rPr>
              <a:t>Enable Microsoft Entra self-service password reset for Users</a:t>
            </a:r>
            <a:endParaRPr lang="en-US"/>
          </a:p>
          <a:p>
            <a:r>
              <a:rPr lang="en-US">
                <a:hlinkClick r:id="rId5"/>
              </a:rPr>
              <a:t>Enable Microsoft Entra multifactor authentication methods</a:t>
            </a:r>
            <a:endParaRPr lang="en-US"/>
          </a:p>
          <a:p>
            <a:r>
              <a:rPr lang="en-US">
                <a:hlinkClick r:id="rId6"/>
              </a:rPr>
              <a:t>Enable Entra </a:t>
            </a:r>
            <a:r>
              <a:rPr lang="en-US" err="1">
                <a:hlinkClick r:id="rId6"/>
              </a:rPr>
              <a:t>passwordless</a:t>
            </a:r>
            <a:r>
              <a:rPr lang="en-US">
                <a:hlinkClick r:id="rId6"/>
              </a:rPr>
              <a:t> sign-in for Users </a:t>
            </a:r>
            <a:endParaRPr lang="en-US"/>
          </a:p>
          <a:p>
            <a:r>
              <a:rPr lang="en-US">
                <a:hlinkClick r:id="rId7"/>
              </a:rPr>
              <a:t>Use Microsoft Entra ID Protection risk-based access policies</a:t>
            </a:r>
            <a:endParaRPr lang="en-US"/>
          </a:p>
          <a:p>
            <a:r>
              <a:rPr lang="en-US">
                <a:hlinkClick r:id="rId8"/>
              </a:rPr>
              <a:t>Use Dynamic Groups to automate group management</a:t>
            </a:r>
            <a:endParaRPr lang="en-US"/>
          </a:p>
        </p:txBody>
      </p:sp>
    </p:spTree>
    <p:extLst>
      <p:ext uri="{BB962C8B-B14F-4D97-AF65-F5344CB8AC3E}">
        <p14:creationId xmlns:p14="http://schemas.microsoft.com/office/powerpoint/2010/main" val="3014943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ED9730-4537-75C1-B486-9970F8CDF7CA}"/>
              </a:ext>
            </a:extLst>
          </p:cNvPr>
          <p:cNvSpPr>
            <a:spLocks noGrp="1"/>
          </p:cNvSpPr>
          <p:nvPr>
            <p:ph type="title"/>
          </p:nvPr>
        </p:nvSpPr>
        <p:spPr>
          <a:xfrm>
            <a:off x="588265" y="3041098"/>
            <a:ext cx="4667226" cy="492443"/>
          </a:xfrm>
        </p:spPr>
        <p:txBody>
          <a:bodyPr/>
          <a:lstStyle/>
          <a:p>
            <a:r>
              <a:rPr lang="en-US"/>
              <a:t>App Provisioning</a:t>
            </a:r>
          </a:p>
        </p:txBody>
      </p:sp>
      <p:sp>
        <p:nvSpPr>
          <p:cNvPr id="5" name="Text Placeholder 4">
            <a:extLst>
              <a:ext uri="{FF2B5EF4-FFF2-40B4-BE49-F238E27FC236}">
                <a16:creationId xmlns:a16="http://schemas.microsoft.com/office/drawing/2014/main" id="{F061F818-8F3C-403B-BE2F-27B7D7A38A1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1920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t>Provision to SAP systems</a:t>
            </a:r>
          </a:p>
        </p:txBody>
      </p:sp>
      <p:pic>
        <p:nvPicPr>
          <p:cNvPr id="5122" name="Picture 2" descr="Diagram showing Microsoft and SAP technologies relevant to provisioning identities from Microsoft Entra ID.">
            <a:extLst>
              <a:ext uri="{FF2B5EF4-FFF2-40B4-BE49-F238E27FC236}">
                <a16:creationId xmlns:a16="http://schemas.microsoft.com/office/drawing/2014/main" id="{B1803E7A-FC94-8143-9D17-ABE972440921}"/>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tretch>
            <a:fillRect/>
          </a:stretch>
        </p:blipFill>
        <p:spPr bwMode="auto">
          <a:xfrm>
            <a:off x="872952" y="2383052"/>
            <a:ext cx="9967873" cy="4391384"/>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F1B50058-EFF6-5C02-D9DF-E9DA0BEEFFA1}"/>
              </a:ext>
            </a:extLst>
          </p:cNvPr>
          <p:cNvSpPr txBox="1">
            <a:spLocks/>
          </p:cNvSpPr>
          <p:nvPr/>
        </p:nvSpPr>
        <p:spPr>
          <a:xfrm>
            <a:off x="584200" y="1435100"/>
            <a:ext cx="11018838" cy="137883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 Entra has connectors to SAP ECC, SAP Cloud Identity Servers and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ther SAP and non-SAP systems.</a:t>
            </a:r>
          </a:p>
        </p:txBody>
      </p:sp>
    </p:spTree>
    <p:extLst>
      <p:ext uri="{BB962C8B-B14F-4D97-AF65-F5344CB8AC3E}">
        <p14:creationId xmlns:p14="http://schemas.microsoft.com/office/powerpoint/2010/main" val="17227652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a:xfrm>
            <a:off x="588263" y="457200"/>
            <a:ext cx="11018520" cy="1107996"/>
          </a:xfrm>
        </p:spPr>
        <p:txBody>
          <a:bodyPr/>
          <a:lstStyle/>
          <a:p>
            <a:r>
              <a:rPr lang="en-US"/>
              <a:t>Provision to SAP systems – SAP Cloud Identity Services</a:t>
            </a:r>
          </a:p>
        </p:txBody>
      </p:sp>
      <p:sp>
        <p:nvSpPr>
          <p:cNvPr id="3" name="Content Placeholder 2">
            <a:extLst>
              <a:ext uri="{FF2B5EF4-FFF2-40B4-BE49-F238E27FC236}">
                <a16:creationId xmlns:a16="http://schemas.microsoft.com/office/drawing/2014/main" id="{AB49D019-92F6-7519-AE7D-FE35E9D67D37}"/>
              </a:ext>
            </a:extLst>
          </p:cNvPr>
          <p:cNvSpPr>
            <a:spLocks noGrp="1"/>
          </p:cNvSpPr>
          <p:nvPr>
            <p:ph sz="quarter" idx="10"/>
          </p:nvPr>
        </p:nvSpPr>
        <p:spPr>
          <a:xfrm>
            <a:off x="584200" y="1435100"/>
            <a:ext cx="11018838" cy="5170646"/>
          </a:xfrm>
        </p:spPr>
        <p:txBody>
          <a:bodyPr/>
          <a:lstStyle/>
          <a:p>
            <a:pPr algn="l">
              <a:buFont typeface="Arial" panose="020B0604020202020204" pitchFamily="34" charset="0"/>
              <a:buChar char="•"/>
            </a:pPr>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For SAP Cloud Identity Services, confirm the SAP Cloud Identity Services have the necessary schema mappings for those applications, and </a:t>
            </a:r>
            <a:r>
              <a:rPr lang="en-US" b="0" i="0" u="none" strike="noStrike">
                <a:effectLst/>
                <a:highlight>
                  <a:srgbClr val="FFFFFF"/>
                </a:highlight>
                <a:latin typeface="Segoe UI" panose="020B0502040204020203" pitchFamily="34" charset="0"/>
                <a:hlinkClick r:id="rId3"/>
              </a:rPr>
              <a:t>provision the users from Microsoft Entra ID to SAP Cloud Identity Services</a:t>
            </a:r>
            <a:r>
              <a:rPr lang="en-US" b="0" i="0">
                <a:solidFill>
                  <a:srgbClr val="161616"/>
                </a:solidFill>
                <a:effectLst/>
                <a:highlight>
                  <a:srgbClr val="FFFFFF"/>
                </a:highlight>
                <a:latin typeface="Segoe UI" panose="020B0502040204020203" pitchFamily="34" charset="0"/>
              </a:rPr>
              <a:t>. </a:t>
            </a:r>
          </a:p>
          <a:p>
            <a:pPr algn="l">
              <a:buFont typeface="Arial" panose="020B0604020202020204" pitchFamily="34" charset="0"/>
              <a:buChar char="•"/>
            </a:pPr>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SAP Cloud Identity Services will subsequently provision users into the downstream SAP applications, as necessary. </a:t>
            </a:r>
          </a:p>
          <a:p>
            <a:pPr algn="l">
              <a:buFont typeface="Arial" panose="020B0604020202020204" pitchFamily="34" charset="0"/>
              <a:buChar char="•"/>
            </a:pPr>
            <a:endParaRPr lang="en-US">
              <a:solidFill>
                <a:srgbClr val="161616"/>
              </a:solidFill>
              <a:highlight>
                <a:srgbClr val="FFFFFF"/>
              </a:highlight>
              <a:latin typeface="Segoe UI" panose="020B0502040204020203" pitchFamily="34" charset="0"/>
            </a:endParaRPr>
          </a:p>
          <a:p>
            <a:pPr algn="l">
              <a:buFont typeface="Arial" panose="020B0604020202020204" pitchFamily="34" charset="0"/>
              <a:buChar char="•"/>
            </a:pPr>
            <a:r>
              <a:rPr lang="en-US">
                <a:solidFill>
                  <a:srgbClr val="161616"/>
                </a:solidFill>
                <a:highlight>
                  <a:srgbClr val="FFFFFF"/>
                </a:highlight>
                <a:latin typeface="Segoe UI" panose="020B0502040204020203" pitchFamily="34" charset="0"/>
              </a:rPr>
              <a:t>Y</a:t>
            </a:r>
            <a:r>
              <a:rPr lang="en-US" b="0" i="0">
                <a:solidFill>
                  <a:srgbClr val="161616"/>
                </a:solidFill>
                <a:effectLst/>
                <a:highlight>
                  <a:srgbClr val="FFFFFF"/>
                </a:highlight>
                <a:latin typeface="Segoe UI" panose="020B0502040204020203" pitchFamily="34" charset="0"/>
              </a:rPr>
              <a:t>ou can also </a:t>
            </a:r>
            <a:r>
              <a:rPr lang="en-US" b="0" i="0" u="none" strike="noStrike">
                <a:effectLst/>
                <a:highlight>
                  <a:srgbClr val="FFFFFF"/>
                </a:highlight>
                <a:latin typeface="Segoe UI" panose="020B0502040204020203" pitchFamily="34" charset="0"/>
                <a:hlinkClick r:id="rId4"/>
              </a:rPr>
              <a:t>automate changes to the application role assignments</a:t>
            </a:r>
            <a:r>
              <a:rPr lang="en-US" b="0" i="0">
                <a:solidFill>
                  <a:srgbClr val="161616"/>
                </a:solidFill>
                <a:effectLst/>
                <a:highlight>
                  <a:srgbClr val="FFFFFF"/>
                </a:highlight>
                <a:latin typeface="Segoe UI" panose="020B0502040204020203" pitchFamily="34" charset="0"/>
              </a:rPr>
              <a:t> in Microsoft Entra ID for SAP Cloud Identity Services.</a:t>
            </a:r>
            <a:endParaRPr lang="en-US"/>
          </a:p>
        </p:txBody>
      </p:sp>
    </p:spTree>
    <p:extLst>
      <p:ext uri="{BB962C8B-B14F-4D97-AF65-F5344CB8AC3E}">
        <p14:creationId xmlns:p14="http://schemas.microsoft.com/office/powerpoint/2010/main" val="28972584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B33DD-07FB-91F8-0F5D-5D182D472512}"/>
              </a:ext>
            </a:extLst>
          </p:cNvPr>
          <p:cNvSpPr>
            <a:spLocks noGrp="1"/>
          </p:cNvSpPr>
          <p:nvPr>
            <p:ph type="title"/>
          </p:nvPr>
        </p:nvSpPr>
        <p:spPr/>
        <p:txBody>
          <a:bodyPr/>
          <a:lstStyle/>
          <a:p>
            <a:r>
              <a:rPr lang="pt-BR"/>
              <a:t>Demo – App </a:t>
            </a:r>
            <a:r>
              <a:rPr lang="pt-BR" err="1"/>
              <a:t>Provisioning</a:t>
            </a:r>
            <a:endParaRPr lang="en-US"/>
          </a:p>
        </p:txBody>
      </p:sp>
      <p:sp>
        <p:nvSpPr>
          <p:cNvPr id="5" name="Text Placeholder 4">
            <a:extLst>
              <a:ext uri="{FF2B5EF4-FFF2-40B4-BE49-F238E27FC236}">
                <a16:creationId xmlns:a16="http://schemas.microsoft.com/office/drawing/2014/main" id="{784753E2-4154-E77F-6676-5F8DA13944B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24296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t>Provision to SAP systems – On-Premises SAP ECC</a:t>
            </a:r>
          </a:p>
        </p:txBody>
      </p:sp>
      <p:sp>
        <p:nvSpPr>
          <p:cNvPr id="3" name="Content Placeholder 2">
            <a:extLst>
              <a:ext uri="{FF2B5EF4-FFF2-40B4-BE49-F238E27FC236}">
                <a16:creationId xmlns:a16="http://schemas.microsoft.com/office/drawing/2014/main" id="{AB49D019-92F6-7519-AE7D-FE35E9D67D37}"/>
              </a:ext>
            </a:extLst>
          </p:cNvPr>
          <p:cNvSpPr>
            <a:spLocks noGrp="1"/>
          </p:cNvSpPr>
          <p:nvPr>
            <p:ph sz="quarter" idx="10"/>
          </p:nvPr>
        </p:nvSpPr>
        <p:spPr>
          <a:xfrm>
            <a:off x="584200" y="1435100"/>
            <a:ext cx="11018838" cy="5429179"/>
          </a:xfrm>
        </p:spPr>
        <p:txBody>
          <a:bodyPr/>
          <a:lstStyle/>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For SAP ECC, confirm that the necessary Business APIs (BAPIs) </a:t>
            </a:r>
            <a:r>
              <a:rPr lang="en-US" b="0" i="0" u="none" strike="noStrike">
                <a:solidFill>
                  <a:srgbClr val="161616"/>
                </a:solidFill>
                <a:effectLst/>
                <a:highlight>
                  <a:srgbClr val="FFFFFF"/>
                </a:highlight>
                <a:latin typeface="Segoe UI" panose="020B0502040204020203" pitchFamily="34" charset="0"/>
                <a:hlinkClick r:id="rId3"/>
              </a:rPr>
              <a:t>for SAP ECC are ready</a:t>
            </a:r>
            <a:r>
              <a:rPr lang="en-US" b="0" i="0">
                <a:solidFill>
                  <a:srgbClr val="161616"/>
                </a:solidFill>
                <a:effectLst/>
                <a:highlight>
                  <a:srgbClr val="FFFFFF"/>
                </a:highlight>
                <a:latin typeface="Segoe UI" panose="020B0502040204020203" pitchFamily="34" charset="0"/>
              </a:rPr>
              <a:t> for Microsoft Entra to use for identity management, then </a:t>
            </a:r>
            <a:r>
              <a:rPr lang="en-US" b="0" i="0" u="none" strike="noStrike">
                <a:solidFill>
                  <a:srgbClr val="161616"/>
                </a:solidFill>
                <a:effectLst/>
                <a:highlight>
                  <a:srgbClr val="FFFFFF"/>
                </a:highlight>
                <a:latin typeface="Segoe UI" panose="020B0502040204020203" pitchFamily="34" charset="0"/>
                <a:hlinkClick r:id="rId4"/>
              </a:rPr>
              <a:t>provision the users from Microsoft Entra ID to SAP ECC</a:t>
            </a:r>
            <a:r>
              <a:rPr lang="en-US" b="0" i="0">
                <a:solidFill>
                  <a:srgbClr val="161616"/>
                </a:solidFill>
                <a:effectLst/>
                <a:highlight>
                  <a:srgbClr val="FFFFFF"/>
                </a:highlight>
                <a:latin typeface="Segoe UI" panose="020B0502040204020203" pitchFamily="34" charset="0"/>
              </a:rPr>
              <a:t>.</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If you are using SAP NetWeaver AS for Java with Windows Server Active Directory as its data source, then Microsoft Entra SuccessFactors inbound can be used to </a:t>
            </a:r>
            <a:r>
              <a:rPr lang="en-US" b="0" i="0" u="none" strike="noStrike">
                <a:solidFill>
                  <a:srgbClr val="161616"/>
                </a:solidFill>
                <a:effectLst/>
                <a:highlight>
                  <a:srgbClr val="FFFFFF"/>
                </a:highlight>
                <a:latin typeface="Segoe UI" panose="020B0502040204020203" pitchFamily="34" charset="0"/>
                <a:hlinkClick r:id="rId5"/>
              </a:rPr>
              <a:t>automatically create and update users in Windows Server AD</a:t>
            </a:r>
            <a:r>
              <a:rPr lang="en-US" b="0" i="0">
                <a:solidFill>
                  <a:srgbClr val="161616"/>
                </a:solidFill>
                <a:effectLst/>
                <a:highlight>
                  <a:srgbClr val="FFFFFF"/>
                </a:highlight>
                <a:latin typeface="Segoe UI" panose="020B0502040204020203" pitchFamily="34" charset="0"/>
              </a:rPr>
              <a:t>.</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If you are using SAP NetWeaver AS for Java with another LDAP directory as its data source, then you can configure </a:t>
            </a:r>
            <a:r>
              <a:rPr lang="en-US" b="0" i="0" u="none" strike="noStrike">
                <a:solidFill>
                  <a:srgbClr val="161616"/>
                </a:solidFill>
                <a:effectLst/>
                <a:highlight>
                  <a:srgbClr val="FFFFFF"/>
                </a:highlight>
                <a:latin typeface="Segoe UI" panose="020B0502040204020203" pitchFamily="34" charset="0"/>
                <a:hlinkClick r:id="rId6"/>
              </a:rPr>
              <a:t>Microsoft Entra ID to provision users into LDAP directories</a:t>
            </a:r>
            <a:r>
              <a:rPr lang="en-US" b="0" i="0">
                <a:solidFill>
                  <a:srgbClr val="161616"/>
                </a:solidFill>
                <a:effectLst/>
                <a:highlight>
                  <a:srgbClr val="FFFFFF"/>
                </a:highlight>
                <a:latin typeface="Segoe UI" panose="020B0502040204020203" pitchFamily="34" charset="0"/>
              </a:rPr>
              <a:t>.</a:t>
            </a:r>
          </a:p>
          <a:p>
            <a:endParaRPr lang="en-US"/>
          </a:p>
        </p:txBody>
      </p:sp>
    </p:spTree>
    <p:extLst>
      <p:ext uri="{BB962C8B-B14F-4D97-AF65-F5344CB8AC3E}">
        <p14:creationId xmlns:p14="http://schemas.microsoft.com/office/powerpoint/2010/main" val="854644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cs typeface="Segoe UI"/>
              </a:rPr>
              <a:t>Provision to non-SAP Systems – SaaS</a:t>
            </a:r>
          </a:p>
        </p:txBody>
      </p:sp>
      <p:sp>
        <p:nvSpPr>
          <p:cNvPr id="74" name="TextBox 73">
            <a:extLst>
              <a:ext uri="{FF2B5EF4-FFF2-40B4-BE49-F238E27FC236}">
                <a16:creationId xmlns:a16="http://schemas.microsoft.com/office/drawing/2014/main" id="{D9D87207-86A5-E84D-6C9C-3811A9E5F058}"/>
              </a:ext>
            </a:extLst>
          </p:cNvPr>
          <p:cNvSpPr txBox="1"/>
          <p:nvPr/>
        </p:nvSpPr>
        <p:spPr>
          <a:xfrm>
            <a:off x="588263" y="1215214"/>
            <a:ext cx="5876931" cy="5509200"/>
          </a:xfrm>
          <a:prstGeom prst="rect">
            <a:avLst/>
          </a:prstGeom>
          <a:noFill/>
        </p:spPr>
        <p:txBody>
          <a:bodyPr wrap="square" lIns="91440" tIns="45720" rIns="91440" bIns="45720" anchor="t">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Segoe UI"/>
                <a:ea typeface="+mn-ea"/>
                <a:cs typeface="+mn-cs"/>
              </a:rPr>
              <a:t>Entra</a:t>
            </a:r>
            <a:r>
              <a:rPr kumimoji="0" lang="en-US" sz="1600" b="0" i="0" u="none" strike="noStrike" kern="1200" cap="none" spc="0" normalizeH="0" baseline="0" noProof="0">
                <a:ln>
                  <a:noFill/>
                </a:ln>
                <a:solidFill>
                  <a:srgbClr val="000000"/>
                </a:solidFill>
                <a:effectLst/>
                <a:uLnTx/>
                <a:uFillTx/>
                <a:latin typeface="Segoe UI"/>
                <a:ea typeface="+mn-ea"/>
                <a:cs typeface="+mn-cs"/>
              </a:rPr>
              <a:t> Provisioning service connects to 3rd party apps via SCIM endpoints for user management</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utomatically create, update or deactivate accounts in application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sure that the identities in your apps and systems are kept up to date based on changes in the directory or your human resources syst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ovision groups to applications that support th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ake advantage of customizable attribute mappings that define what user data should flow from the source system to the target syst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onitor and audit who has been provisioned into your application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he provisioning service provides alerts for critical events and allows for Log Analytics integration where you can define custom alerts to suit your business need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p:txBody>
      </p:sp>
      <p:pic>
        <p:nvPicPr>
          <p:cNvPr id="75" name="Picture 74">
            <a:extLst>
              <a:ext uri="{FF2B5EF4-FFF2-40B4-BE49-F238E27FC236}">
                <a16:creationId xmlns:a16="http://schemas.microsoft.com/office/drawing/2014/main" id="{C2E5C599-AA3A-BB95-7885-87A69B284C7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833849" y="1215215"/>
            <a:ext cx="4769887" cy="2296612"/>
          </a:xfrm>
          <a:prstGeom prst="rect">
            <a:avLst/>
          </a:prstGeom>
        </p:spPr>
      </p:pic>
      <p:grpSp>
        <p:nvGrpSpPr>
          <p:cNvPr id="76" name="Group 75">
            <a:extLst>
              <a:ext uri="{FF2B5EF4-FFF2-40B4-BE49-F238E27FC236}">
                <a16:creationId xmlns:a16="http://schemas.microsoft.com/office/drawing/2014/main" id="{07AC1CCC-CC5D-0E7A-825F-490046903038}"/>
              </a:ext>
            </a:extLst>
          </p:cNvPr>
          <p:cNvGrpSpPr/>
          <p:nvPr/>
        </p:nvGrpSpPr>
        <p:grpSpPr>
          <a:xfrm>
            <a:off x="6595618" y="4486893"/>
            <a:ext cx="4938278" cy="1368746"/>
            <a:chOff x="3025666" y="2185028"/>
            <a:chExt cx="4938278" cy="1368746"/>
          </a:xfrm>
        </p:grpSpPr>
        <p:sp>
          <p:nvSpPr>
            <p:cNvPr id="77" name="TextBox 76">
              <a:extLst>
                <a:ext uri="{FF2B5EF4-FFF2-40B4-BE49-F238E27FC236}">
                  <a16:creationId xmlns:a16="http://schemas.microsoft.com/office/drawing/2014/main" id="{6862EE65-D540-35B4-64B9-F77DEF1B7611}"/>
                </a:ext>
              </a:extLst>
            </p:cNvPr>
            <p:cNvSpPr txBox="1"/>
            <p:nvPr/>
          </p:nvSpPr>
          <p:spPr>
            <a:xfrm>
              <a:off x="3025666" y="3061331"/>
              <a:ext cx="1591119" cy="492443"/>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Microsoft </a:t>
              </a:r>
            </a:p>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Entra</a:t>
              </a: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 ID</a:t>
              </a:r>
            </a:p>
          </p:txBody>
        </p:sp>
        <p:sp>
          <p:nvSpPr>
            <p:cNvPr id="78" name="App cloud">
              <a:extLst>
                <a:ext uri="{FF2B5EF4-FFF2-40B4-BE49-F238E27FC236}">
                  <a16:creationId xmlns:a16="http://schemas.microsoft.com/office/drawing/2014/main" id="{CE06C984-36E3-0A21-1DBC-27C1BC53C62E}"/>
                </a:ext>
              </a:extLst>
            </p:cNvPr>
            <p:cNvSpPr/>
            <p:nvPr/>
          </p:nvSpPr>
          <p:spPr bwMode="auto">
            <a:xfrm>
              <a:off x="6027313" y="2185028"/>
              <a:ext cx="1936631" cy="106887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blipFill>
              <a:blip r:embed="rId4" cstate="hqprint">
                <a:extLst>
                  <a:ext uri="{28A0092B-C50C-407E-A947-70E740481C1C}">
                    <a14:useLocalDpi xmlns:a14="http://schemas.microsoft.com/office/drawing/2010/main"/>
                  </a:ext>
                </a:extLst>
              </a:blip>
              <a:stretch>
                <a:fillRect/>
              </a:stretch>
            </a:bli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ED077CBB-8DF9-5B54-7386-E966CE72DD2D}"/>
                </a:ext>
                <a:ext uri="{C183D7F6-B498-43B3-948B-1728B52AA6E4}">
                  <adec:decorative xmlns:adec="http://schemas.microsoft.com/office/drawing/2017/decorative" val="1"/>
                </a:ext>
              </a:extLst>
            </p:cNvPr>
            <p:cNvCxnSpPr>
              <a:cxnSpLocks/>
            </p:cNvCxnSpPr>
            <p:nvPr/>
          </p:nvCxnSpPr>
          <p:spPr>
            <a:xfrm>
              <a:off x="4472155" y="2719466"/>
              <a:ext cx="1555158" cy="0"/>
            </a:xfrm>
            <a:prstGeom prst="line">
              <a:avLst/>
            </a:prstGeom>
            <a:noFill/>
            <a:ln w="15875" cap="rnd" cmpd="sng" algn="ctr">
              <a:solidFill>
                <a:schemeClr val="tx2"/>
              </a:solidFill>
              <a:prstDash val="solid"/>
              <a:headEnd type="none"/>
              <a:tailEnd type="arrow" w="med" len="sm"/>
            </a:ln>
            <a:effectLst/>
          </p:spPr>
        </p:cxnSp>
        <p:sp>
          <p:nvSpPr>
            <p:cNvPr id="80" name="ID" title="Icon of a person with three stacked lines of text to the right of them">
              <a:extLst>
                <a:ext uri="{FF2B5EF4-FFF2-40B4-BE49-F238E27FC236}">
                  <a16:creationId xmlns:a16="http://schemas.microsoft.com/office/drawing/2014/main" id="{1700C366-20AD-FD31-9AAB-EB3FF55E7D00}"/>
                </a:ext>
              </a:extLst>
            </p:cNvPr>
            <p:cNvSpPr>
              <a:spLocks noChangeAspect="1" noEditPoints="1"/>
            </p:cNvSpPr>
            <p:nvPr/>
          </p:nvSpPr>
          <p:spPr bwMode="auto">
            <a:xfrm>
              <a:off x="4989578" y="2186406"/>
              <a:ext cx="457200" cy="26404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useBgFill="1">
          <p:nvSpPr>
            <p:cNvPr id="81" name="Oval 80">
              <a:extLst>
                <a:ext uri="{FF2B5EF4-FFF2-40B4-BE49-F238E27FC236}">
                  <a16:creationId xmlns:a16="http://schemas.microsoft.com/office/drawing/2014/main" id="{9F91A44F-B4BE-2CA1-A91F-24A056F9DABA}"/>
                </a:ext>
                <a:ext uri="{C183D7F6-B498-43B3-948B-1728B52AA6E4}">
                  <adec:decorative xmlns:adec="http://schemas.microsoft.com/office/drawing/2017/decorative" val="1"/>
                </a:ext>
              </a:extLst>
            </p:cNvPr>
            <p:cNvSpPr/>
            <p:nvPr/>
          </p:nvSpPr>
          <p:spPr bwMode="auto">
            <a:xfrm rot="2187612">
              <a:off x="5002297" y="2502909"/>
              <a:ext cx="374776" cy="426467"/>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arrow_11">
              <a:extLst>
                <a:ext uri="{FF2B5EF4-FFF2-40B4-BE49-F238E27FC236}">
                  <a16:creationId xmlns:a16="http://schemas.microsoft.com/office/drawing/2014/main" id="{199AA4CE-445E-9DA9-48DC-F64BCBEFD323}"/>
                </a:ext>
                <a:ext uri="{C183D7F6-B498-43B3-948B-1728B52AA6E4}">
                  <adec:decorative xmlns:adec="http://schemas.microsoft.com/office/drawing/2017/decorative" val="1"/>
                </a:ext>
              </a:extLst>
            </p:cNvPr>
            <p:cNvSpPr>
              <a:spLocks noChangeAspect="1" noEditPoints="1"/>
            </p:cNvSpPr>
            <p:nvPr/>
          </p:nvSpPr>
          <p:spPr bwMode="auto">
            <a:xfrm>
              <a:off x="5052432" y="2577148"/>
              <a:ext cx="265824" cy="27769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TextBox 82">
              <a:extLst>
                <a:ext uri="{FF2B5EF4-FFF2-40B4-BE49-F238E27FC236}">
                  <a16:creationId xmlns:a16="http://schemas.microsoft.com/office/drawing/2014/main" id="{9046EBCB-5116-DBE9-1E6D-906855C3E15D}"/>
                </a:ext>
              </a:extLst>
            </p:cNvPr>
            <p:cNvSpPr txBox="1"/>
            <p:nvPr/>
          </p:nvSpPr>
          <p:spPr>
            <a:xfrm>
              <a:off x="6153086" y="3305889"/>
              <a:ext cx="1657951" cy="246221"/>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SaaS applications</a:t>
              </a:r>
            </a:p>
          </p:txBody>
        </p:sp>
      </p:grpSp>
      <p:pic>
        <p:nvPicPr>
          <p:cNvPr id="84" name="Graphic 83">
            <a:extLst>
              <a:ext uri="{FF2B5EF4-FFF2-40B4-BE49-F238E27FC236}">
                <a16:creationId xmlns:a16="http://schemas.microsoft.com/office/drawing/2014/main" id="{38B0DD62-085C-F53B-A8B0-A6F40578CF1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874626" y="4319424"/>
            <a:ext cx="979640" cy="979640"/>
          </a:xfrm>
          <a:prstGeom prst="rect">
            <a:avLst/>
          </a:prstGeom>
        </p:spPr>
      </p:pic>
    </p:spTree>
    <p:extLst>
      <p:ext uri="{BB962C8B-B14F-4D97-AF65-F5344CB8AC3E}">
        <p14:creationId xmlns:p14="http://schemas.microsoft.com/office/powerpoint/2010/main" val="15503593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cs typeface="Segoe UI"/>
              </a:rPr>
              <a:t>Provision to non-SAP Systems – On-Premises</a:t>
            </a:r>
          </a:p>
        </p:txBody>
      </p:sp>
      <p:sp>
        <p:nvSpPr>
          <p:cNvPr id="4" name="Text Placeholder 2">
            <a:extLst>
              <a:ext uri="{FF2B5EF4-FFF2-40B4-BE49-F238E27FC236}">
                <a16:creationId xmlns:a16="http://schemas.microsoft.com/office/drawing/2014/main" id="{56F03D95-592F-319D-DD2B-B018C387CF8B}"/>
              </a:ext>
            </a:extLst>
          </p:cNvPr>
          <p:cNvSpPr txBox="1">
            <a:spLocks/>
          </p:cNvSpPr>
          <p:nvPr/>
        </p:nvSpPr>
        <p:spPr>
          <a:xfrm>
            <a:off x="588263" y="1965701"/>
            <a:ext cx="5261489" cy="107721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Users and schema defined in the cloud</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Supports provisioning from custom schema extensions to app-specific properties. </a:t>
            </a:r>
          </a:p>
        </p:txBody>
      </p:sp>
      <p:sp>
        <p:nvSpPr>
          <p:cNvPr id="5" name="Text Placeholder 2">
            <a:extLst>
              <a:ext uri="{FF2B5EF4-FFF2-40B4-BE49-F238E27FC236}">
                <a16:creationId xmlns:a16="http://schemas.microsoft.com/office/drawing/2014/main" id="{DE3E1D32-AB71-59E7-B8A6-89C82D969B81}"/>
              </a:ext>
            </a:extLst>
          </p:cNvPr>
          <p:cNvSpPr txBox="1">
            <a:spLocks/>
          </p:cNvSpPr>
          <p:nvPr/>
        </p:nvSpPr>
        <p:spPr>
          <a:xfrm>
            <a:off x="588262" y="3636881"/>
            <a:ext cx="5265897" cy="258532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Translation to the provisioning</a:t>
            </a:r>
            <a:b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b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protocols expected by apps</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Microsoft-delivered connectors: LDAP, SQL, etc.</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Ecosystem of third-party connectors for other apps requiring custom API integrations</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Customers can re-use their existing MIM configuration</a:t>
            </a:r>
          </a:p>
        </p:txBody>
      </p:sp>
      <p:cxnSp>
        <p:nvCxnSpPr>
          <p:cNvPr id="6" name="Straight Arrow Connector 5">
            <a:extLst>
              <a:ext uri="{FF2B5EF4-FFF2-40B4-BE49-F238E27FC236}">
                <a16:creationId xmlns:a16="http://schemas.microsoft.com/office/drawing/2014/main" id="{68ED36F1-032C-F690-4580-B1EF5C1E3E8A}"/>
              </a:ext>
            </a:extLst>
          </p:cNvPr>
          <p:cNvCxnSpPr>
            <a:cxnSpLocks/>
            <a:endCxn id="10" idx="0"/>
          </p:cNvCxnSpPr>
          <p:nvPr/>
        </p:nvCxnSpPr>
        <p:spPr>
          <a:xfrm>
            <a:off x="7597622" y="2437997"/>
            <a:ext cx="17787" cy="3426668"/>
          </a:xfrm>
          <a:prstGeom prst="straightConnector1">
            <a:avLst/>
          </a:prstGeom>
          <a:ln w="15875">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11DEF6-1527-EDCC-E936-3FAD6EA32872}"/>
              </a:ext>
            </a:extLst>
          </p:cNvPr>
          <p:cNvSpPr txBox="1"/>
          <p:nvPr/>
        </p:nvSpPr>
        <p:spPr>
          <a:xfrm>
            <a:off x="6096000" y="2777711"/>
            <a:ext cx="3003246" cy="246221"/>
          </a:xfrm>
          <a:prstGeom prst="rect">
            <a:avLst/>
          </a:prstGeom>
          <a:solidFill>
            <a:schemeClr val="bg1"/>
          </a:solidFill>
        </p:spPr>
        <p:txBody>
          <a:bodyPr wrap="square" lIns="0" tIns="0" rIns="0" bIns="0" rtlCol="0" anchor="ctr">
            <a:no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Semilight" panose="020B0402040204020203" pitchFamily="34" charset="0"/>
              </a:rPr>
              <a:t>Single sign-on and provisioning</a:t>
            </a:r>
          </a:p>
        </p:txBody>
      </p:sp>
      <p:grpSp>
        <p:nvGrpSpPr>
          <p:cNvPr id="8" name="Group 7">
            <a:extLst>
              <a:ext uri="{FF2B5EF4-FFF2-40B4-BE49-F238E27FC236}">
                <a16:creationId xmlns:a16="http://schemas.microsoft.com/office/drawing/2014/main" id="{80AFCC44-3B90-9EB1-E47B-1C1B94653EEF}"/>
              </a:ext>
            </a:extLst>
          </p:cNvPr>
          <p:cNvGrpSpPr>
            <a:grpSpLocks noChangeAspect="1"/>
          </p:cNvGrpSpPr>
          <p:nvPr/>
        </p:nvGrpSpPr>
        <p:grpSpPr>
          <a:xfrm>
            <a:off x="6760718" y="5257800"/>
            <a:ext cx="1272931" cy="1143000"/>
            <a:chOff x="6197795" y="5009164"/>
            <a:chExt cx="1209942" cy="1086440"/>
          </a:xfrm>
        </p:grpSpPr>
        <p:grpSp>
          <p:nvGrpSpPr>
            <p:cNvPr id="9" name="Group 8">
              <a:extLst>
                <a:ext uri="{FF2B5EF4-FFF2-40B4-BE49-F238E27FC236}">
                  <a16:creationId xmlns:a16="http://schemas.microsoft.com/office/drawing/2014/main" id="{50B4794E-6AC5-BEFE-A3F0-A48785F1AE1F}"/>
                </a:ext>
              </a:extLst>
            </p:cNvPr>
            <p:cNvGrpSpPr/>
            <p:nvPr/>
          </p:nvGrpSpPr>
          <p:grpSpPr>
            <a:xfrm>
              <a:off x="6197795" y="5009164"/>
              <a:ext cx="616635" cy="1026202"/>
              <a:chOff x="6197795" y="5009164"/>
              <a:chExt cx="616635" cy="1026202"/>
            </a:xfrm>
          </p:grpSpPr>
          <p:grpSp>
            <p:nvGrpSpPr>
              <p:cNvPr id="11" name="Picture 88">
                <a:extLst>
                  <a:ext uri="{FF2B5EF4-FFF2-40B4-BE49-F238E27FC236}">
                    <a16:creationId xmlns:a16="http://schemas.microsoft.com/office/drawing/2014/main" id="{559D189E-150F-847D-CFBB-19F4E7420D12}"/>
                  </a:ext>
                </a:extLst>
              </p:cNvPr>
              <p:cNvGrpSpPr/>
              <p:nvPr/>
            </p:nvGrpSpPr>
            <p:grpSpPr>
              <a:xfrm>
                <a:off x="6197795" y="5009164"/>
                <a:ext cx="616635" cy="1026202"/>
                <a:chOff x="6197795" y="5009164"/>
                <a:chExt cx="616635" cy="1026202"/>
              </a:xfrm>
            </p:grpSpPr>
            <p:sp>
              <p:nvSpPr>
                <p:cNvPr id="19" name="Freeform: Shape 18">
                  <a:extLst>
                    <a:ext uri="{FF2B5EF4-FFF2-40B4-BE49-F238E27FC236}">
                      <a16:creationId xmlns:a16="http://schemas.microsoft.com/office/drawing/2014/main" id="{608C77A3-56FE-1FED-528E-D0710D67F930}"/>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044EAA64-BB4F-CA03-582C-F1AEEBCB4FA5}"/>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2E6E69-D39B-24D2-02E0-019EAE1DB11F}"/>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081C699E-1F77-7517-2CE4-FCFAB8D1B9AA}"/>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52110C41-7EB7-4543-7B8D-DF0ABB9619DD}"/>
                  </a:ext>
                </a:extLst>
              </p:cNvPr>
              <p:cNvSpPr/>
              <p:nvPr/>
            </p:nvSpPr>
            <p:spPr bwMode="auto">
              <a:xfrm>
                <a:off x="6356702" y="5457613"/>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EF6B383-8F27-286B-EF13-FA90425F1EBC}"/>
                  </a:ext>
                </a:extLst>
              </p:cNvPr>
              <p:cNvSpPr/>
              <p:nvPr/>
            </p:nvSpPr>
            <p:spPr bwMode="auto">
              <a:xfrm>
                <a:off x="6356702" y="5521315"/>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4358313D-C15C-F7AF-7CCB-6F4CC64638FA}"/>
                  </a:ext>
                </a:extLst>
              </p:cNvPr>
              <p:cNvSpPr/>
              <p:nvPr/>
            </p:nvSpPr>
            <p:spPr bwMode="auto">
              <a:xfrm>
                <a:off x="6356702" y="5585016"/>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B43EE36-293D-F0C7-FA0F-B43A1C51E7CE}"/>
                  </a:ext>
                </a:extLst>
              </p:cNvPr>
              <p:cNvSpPr/>
              <p:nvPr/>
            </p:nvSpPr>
            <p:spPr bwMode="auto">
              <a:xfrm>
                <a:off x="6356702" y="5648718"/>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751815F4-996E-D8BF-D622-B2BBCF294A39}"/>
                  </a:ext>
                </a:extLst>
              </p:cNvPr>
              <p:cNvSpPr/>
              <p:nvPr/>
            </p:nvSpPr>
            <p:spPr bwMode="auto">
              <a:xfrm>
                <a:off x="6356702" y="5712418"/>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1348EE2A-8878-5488-0AF1-48B70EC0EF91}"/>
                  </a:ext>
                </a:extLst>
              </p:cNvPr>
              <p:cNvSpPr/>
              <p:nvPr/>
            </p:nvSpPr>
            <p:spPr bwMode="auto">
              <a:xfrm>
                <a:off x="6356703" y="5776119"/>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F5029C8-FDDA-4508-0D7A-FBE1C8CA0BAC}"/>
                  </a:ext>
                </a:extLst>
              </p:cNvPr>
              <p:cNvSpPr/>
              <p:nvPr/>
            </p:nvSpPr>
            <p:spPr bwMode="auto">
              <a:xfrm>
                <a:off x="6356704" y="5839822"/>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 name="Picture 9">
              <a:extLst>
                <a:ext uri="{FF2B5EF4-FFF2-40B4-BE49-F238E27FC236}">
                  <a16:creationId xmlns:a16="http://schemas.microsoft.com/office/drawing/2014/main" id="{096CA635-0B22-E98F-3ACF-3B35FCD451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2649" y="5585999"/>
              <a:ext cx="795088" cy="509605"/>
            </a:xfrm>
            <a:prstGeom prst="rect">
              <a:avLst/>
            </a:prstGeom>
          </p:spPr>
        </p:pic>
      </p:grpSp>
      <p:sp>
        <p:nvSpPr>
          <p:cNvPr id="23" name="Rectangle: Rounded Corners 22">
            <a:extLst>
              <a:ext uri="{FF2B5EF4-FFF2-40B4-BE49-F238E27FC236}">
                <a16:creationId xmlns:a16="http://schemas.microsoft.com/office/drawing/2014/main" id="{84E884E7-7CFD-6A1B-00E1-A612D71DC1B4}"/>
              </a:ext>
              <a:ext uri="{C183D7F6-B498-43B3-948B-1728B52AA6E4}">
                <adec:decorative xmlns:adec="http://schemas.microsoft.com/office/drawing/2017/decorative" val="1"/>
              </a:ext>
            </a:extLst>
          </p:cNvPr>
          <p:cNvSpPr/>
          <p:nvPr/>
        </p:nvSpPr>
        <p:spPr bwMode="auto">
          <a:xfrm>
            <a:off x="6454622" y="3263141"/>
            <a:ext cx="2286000" cy="1970761"/>
          </a:xfrm>
          <a:prstGeom prst="round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25902172-8063-FE8E-B755-D4E9998D4339}"/>
              </a:ext>
            </a:extLst>
          </p:cNvPr>
          <p:cNvGrpSpPr>
            <a:grpSpLocks noChangeAspect="1"/>
          </p:cNvGrpSpPr>
          <p:nvPr/>
        </p:nvGrpSpPr>
        <p:grpSpPr>
          <a:xfrm>
            <a:off x="7397184" y="4100302"/>
            <a:ext cx="400877" cy="397923"/>
            <a:chOff x="1755460" y="5146971"/>
            <a:chExt cx="1436547" cy="1425965"/>
          </a:xfrm>
        </p:grpSpPr>
        <p:grpSp>
          <p:nvGrpSpPr>
            <p:cNvPr id="25" name="Group 24">
              <a:extLst>
                <a:ext uri="{FF2B5EF4-FFF2-40B4-BE49-F238E27FC236}">
                  <a16:creationId xmlns:a16="http://schemas.microsoft.com/office/drawing/2014/main" id="{F46484CE-BEFE-C133-E7C1-2279CB680BDC}"/>
                </a:ext>
              </a:extLst>
            </p:cNvPr>
            <p:cNvGrpSpPr/>
            <p:nvPr/>
          </p:nvGrpSpPr>
          <p:grpSpPr>
            <a:xfrm>
              <a:off x="1755460" y="5146971"/>
              <a:ext cx="1294116" cy="1294201"/>
              <a:chOff x="2603595" y="5146971"/>
              <a:chExt cx="1294116" cy="1294201"/>
            </a:xfrm>
          </p:grpSpPr>
          <p:sp>
            <p:nvSpPr>
              <p:cNvPr id="34" name="Rectangle 33">
                <a:extLst>
                  <a:ext uri="{FF2B5EF4-FFF2-40B4-BE49-F238E27FC236}">
                    <a16:creationId xmlns:a16="http://schemas.microsoft.com/office/drawing/2014/main" id="{456859DB-8B79-07B7-13A1-8A0DD2FE411D}"/>
                  </a:ext>
                </a:extLst>
              </p:cNvPr>
              <p:cNvSpPr/>
              <p:nvPr/>
            </p:nvSpPr>
            <p:spPr bwMode="auto">
              <a:xfrm>
                <a:off x="2603595"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3F8594B1-2223-09BE-CD1C-6F813795D590}"/>
                  </a:ext>
                </a:extLst>
              </p:cNvPr>
              <p:cNvSpPr/>
              <p:nvPr/>
            </p:nvSpPr>
            <p:spPr bwMode="auto">
              <a:xfrm>
                <a:off x="3060994"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60ACC645-602C-773B-5E14-6595304AC291}"/>
                  </a:ext>
                </a:extLst>
              </p:cNvPr>
              <p:cNvSpPr/>
              <p:nvPr/>
            </p:nvSpPr>
            <p:spPr bwMode="auto">
              <a:xfrm>
                <a:off x="3518394"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Rectangle 36">
                <a:extLst>
                  <a:ext uri="{FF2B5EF4-FFF2-40B4-BE49-F238E27FC236}">
                    <a16:creationId xmlns:a16="http://schemas.microsoft.com/office/drawing/2014/main" id="{4D947213-EC0E-6FB0-0A5B-4D75D78AAA82}"/>
                  </a:ext>
                </a:extLst>
              </p:cNvPr>
              <p:cNvSpPr/>
              <p:nvPr/>
            </p:nvSpPr>
            <p:spPr bwMode="auto">
              <a:xfrm>
                <a:off x="2603595"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Rectangle 37">
                <a:extLst>
                  <a:ext uri="{FF2B5EF4-FFF2-40B4-BE49-F238E27FC236}">
                    <a16:creationId xmlns:a16="http://schemas.microsoft.com/office/drawing/2014/main" id="{6A1D2FCA-8A56-631B-391A-B66F6D92B7BE}"/>
                  </a:ext>
                </a:extLst>
              </p:cNvPr>
              <p:cNvSpPr/>
              <p:nvPr/>
            </p:nvSpPr>
            <p:spPr bwMode="auto">
              <a:xfrm>
                <a:off x="3060994"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Rectangle 38">
                <a:extLst>
                  <a:ext uri="{FF2B5EF4-FFF2-40B4-BE49-F238E27FC236}">
                    <a16:creationId xmlns:a16="http://schemas.microsoft.com/office/drawing/2014/main" id="{D0FACB68-812C-FB27-9EC5-AA8A6FEA42F9}"/>
                  </a:ext>
                </a:extLst>
              </p:cNvPr>
              <p:cNvSpPr/>
              <p:nvPr/>
            </p:nvSpPr>
            <p:spPr bwMode="auto">
              <a:xfrm>
                <a:off x="3518394"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27F163A9-F8F5-9784-96B3-2C7636929C5C}"/>
                  </a:ext>
                </a:extLst>
              </p:cNvPr>
              <p:cNvSpPr/>
              <p:nvPr/>
            </p:nvSpPr>
            <p:spPr bwMode="auto">
              <a:xfrm>
                <a:off x="2603595"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75DCFB61-215F-4A23-1B40-BBCA4E406F3A}"/>
                  </a:ext>
                </a:extLst>
              </p:cNvPr>
              <p:cNvSpPr/>
              <p:nvPr/>
            </p:nvSpPr>
            <p:spPr bwMode="auto">
              <a:xfrm>
                <a:off x="3060994"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2" name="Rectangle 41">
                <a:extLst>
                  <a:ext uri="{FF2B5EF4-FFF2-40B4-BE49-F238E27FC236}">
                    <a16:creationId xmlns:a16="http://schemas.microsoft.com/office/drawing/2014/main" id="{A8CA42E9-0A06-FD2A-F0A4-2237B7EF25EC}"/>
                  </a:ext>
                </a:extLst>
              </p:cNvPr>
              <p:cNvSpPr/>
              <p:nvPr/>
            </p:nvSpPr>
            <p:spPr bwMode="auto">
              <a:xfrm>
                <a:off x="3518394"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E1B05F4E-33A2-BA34-43F5-C4697078FC9D}"/>
                </a:ext>
              </a:extLst>
            </p:cNvPr>
            <p:cNvGrpSpPr/>
            <p:nvPr/>
          </p:nvGrpSpPr>
          <p:grpSpPr>
            <a:xfrm>
              <a:off x="2080081" y="5461009"/>
              <a:ext cx="1111926" cy="1111927"/>
              <a:chOff x="2186561" y="5567482"/>
              <a:chExt cx="898972" cy="898974"/>
            </a:xfrm>
          </p:grpSpPr>
          <p:sp>
            <p:nvSpPr>
              <p:cNvPr id="27" name="Rectangle: Rounded Corners 26">
                <a:extLst>
                  <a:ext uri="{FF2B5EF4-FFF2-40B4-BE49-F238E27FC236}">
                    <a16:creationId xmlns:a16="http://schemas.microsoft.com/office/drawing/2014/main" id="{5328EED5-56F7-E5BC-F516-47E9FD2178FC}"/>
                  </a:ext>
                </a:extLst>
              </p:cNvPr>
              <p:cNvSpPr/>
              <p:nvPr/>
            </p:nvSpPr>
            <p:spPr bwMode="auto">
              <a:xfrm rot="2700000">
                <a:off x="2194580" y="5575492"/>
                <a:ext cx="882944" cy="882944"/>
              </a:xfrm>
              <a:prstGeom prst="roundRect">
                <a:avLst>
                  <a:gd name="adj" fmla="val 12391"/>
                </a:avLst>
              </a:prstGeom>
              <a:solidFill>
                <a:srgbClr val="B5D23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8" name="Group 27">
                <a:extLst>
                  <a:ext uri="{FF2B5EF4-FFF2-40B4-BE49-F238E27FC236}">
                    <a16:creationId xmlns:a16="http://schemas.microsoft.com/office/drawing/2014/main" id="{744F24A9-E7A2-66FF-601C-4699D35528F2}"/>
                  </a:ext>
                </a:extLst>
              </p:cNvPr>
              <p:cNvGrpSpPr/>
              <p:nvPr/>
            </p:nvGrpSpPr>
            <p:grpSpPr>
              <a:xfrm>
                <a:off x="2186561" y="5876255"/>
                <a:ext cx="898972" cy="281418"/>
                <a:chOff x="3442849" y="5209407"/>
                <a:chExt cx="823114" cy="189432"/>
              </a:xfrm>
              <a:solidFill>
                <a:schemeClr val="bg1"/>
              </a:solidFill>
            </p:grpSpPr>
            <p:sp>
              <p:nvSpPr>
                <p:cNvPr id="32" name="Arrow: Right 31">
                  <a:extLst>
                    <a:ext uri="{FF2B5EF4-FFF2-40B4-BE49-F238E27FC236}">
                      <a16:creationId xmlns:a16="http://schemas.microsoft.com/office/drawing/2014/main" id="{2D89BE43-53FF-2DE5-52A2-42D48B1A057C}"/>
                    </a:ext>
                  </a:extLst>
                </p:cNvPr>
                <p:cNvSpPr/>
                <p:nvPr/>
              </p:nvSpPr>
              <p:spPr bwMode="auto">
                <a:xfrm>
                  <a:off x="3442849" y="5209407"/>
                  <a:ext cx="334896" cy="189432"/>
                </a:xfrm>
                <a:prstGeom prst="rightArrow">
                  <a:avLst>
                    <a:gd name="adj1" fmla="val 33076"/>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Arrow: Right 32">
                  <a:extLst>
                    <a:ext uri="{FF2B5EF4-FFF2-40B4-BE49-F238E27FC236}">
                      <a16:creationId xmlns:a16="http://schemas.microsoft.com/office/drawing/2014/main" id="{8D5F5D59-D5C4-286A-B7D9-3C52DE32D4A2}"/>
                    </a:ext>
                  </a:extLst>
                </p:cNvPr>
                <p:cNvSpPr/>
                <p:nvPr/>
              </p:nvSpPr>
              <p:spPr bwMode="auto">
                <a:xfrm flipH="1">
                  <a:off x="3931067" y="5209407"/>
                  <a:ext cx="334896" cy="189432"/>
                </a:xfrm>
                <a:prstGeom prst="rightArrow">
                  <a:avLst>
                    <a:gd name="adj1" fmla="val 30820"/>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45828F1C-3F7D-6468-8E43-ECCDAE5365F2}"/>
                  </a:ext>
                </a:extLst>
              </p:cNvPr>
              <p:cNvGrpSpPr/>
              <p:nvPr/>
            </p:nvGrpSpPr>
            <p:grpSpPr>
              <a:xfrm rot="16200000">
                <a:off x="2186566" y="5876259"/>
                <a:ext cx="898974" cy="281420"/>
                <a:chOff x="3642790" y="5361808"/>
                <a:chExt cx="823116" cy="189433"/>
              </a:xfrm>
              <a:solidFill>
                <a:schemeClr val="bg1"/>
              </a:solidFill>
            </p:grpSpPr>
            <p:sp>
              <p:nvSpPr>
                <p:cNvPr id="30" name="Arrow: Right 29">
                  <a:extLst>
                    <a:ext uri="{FF2B5EF4-FFF2-40B4-BE49-F238E27FC236}">
                      <a16:creationId xmlns:a16="http://schemas.microsoft.com/office/drawing/2014/main" id="{BC180AC3-BC82-838C-A5C0-9436E9BCC29A}"/>
                    </a:ext>
                  </a:extLst>
                </p:cNvPr>
                <p:cNvSpPr/>
                <p:nvPr/>
              </p:nvSpPr>
              <p:spPr bwMode="auto">
                <a:xfrm rot="10800000" flipV="1">
                  <a:off x="3642790" y="5361808"/>
                  <a:ext cx="334896" cy="189432"/>
                </a:xfrm>
                <a:prstGeom prst="rightArrow">
                  <a:avLst>
                    <a:gd name="adj1" fmla="val 30820"/>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Right 30">
                  <a:extLst>
                    <a:ext uri="{FF2B5EF4-FFF2-40B4-BE49-F238E27FC236}">
                      <a16:creationId xmlns:a16="http://schemas.microsoft.com/office/drawing/2014/main" id="{76BC2B70-A6F6-B72A-CFBF-7542677C8E2D}"/>
                    </a:ext>
                  </a:extLst>
                </p:cNvPr>
                <p:cNvSpPr/>
                <p:nvPr/>
              </p:nvSpPr>
              <p:spPr bwMode="auto">
                <a:xfrm rot="10800000" flipH="1" flipV="1">
                  <a:off x="4131010" y="5361809"/>
                  <a:ext cx="334896" cy="189432"/>
                </a:xfrm>
                <a:prstGeom prst="rightArrow">
                  <a:avLst>
                    <a:gd name="adj1" fmla="val 31948"/>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grpSp>
      <p:sp>
        <p:nvSpPr>
          <p:cNvPr id="43" name="Rectangle 42">
            <a:extLst>
              <a:ext uri="{FF2B5EF4-FFF2-40B4-BE49-F238E27FC236}">
                <a16:creationId xmlns:a16="http://schemas.microsoft.com/office/drawing/2014/main" id="{DB4BD111-786D-64DE-5E8A-88FECEE45F01}"/>
              </a:ext>
            </a:extLst>
          </p:cNvPr>
          <p:cNvSpPr/>
          <p:nvPr/>
        </p:nvSpPr>
        <p:spPr>
          <a:xfrm>
            <a:off x="6599208" y="3618143"/>
            <a:ext cx="1996828" cy="38779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Microsoft Entra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provisioning agents</a:t>
            </a:r>
          </a:p>
        </p:txBody>
      </p:sp>
      <p:pic>
        <p:nvPicPr>
          <p:cNvPr id="44" name="Graphic 43">
            <a:extLst>
              <a:ext uri="{FF2B5EF4-FFF2-40B4-BE49-F238E27FC236}">
                <a16:creationId xmlns:a16="http://schemas.microsoft.com/office/drawing/2014/main" id="{99CF928F-CC3C-B862-A0D5-D5AC5CEABF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3747464"/>
            <a:ext cx="274320" cy="274320"/>
          </a:xfrm>
          <a:prstGeom prst="rect">
            <a:avLst/>
          </a:prstGeom>
        </p:spPr>
      </p:pic>
      <p:pic>
        <p:nvPicPr>
          <p:cNvPr id="45" name="Graphic 44">
            <a:extLst>
              <a:ext uri="{FF2B5EF4-FFF2-40B4-BE49-F238E27FC236}">
                <a16:creationId xmlns:a16="http://schemas.microsoft.com/office/drawing/2014/main" id="{248533F1-E308-C4D9-B89D-BC527D92830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4087197"/>
            <a:ext cx="274320" cy="274320"/>
          </a:xfrm>
          <a:prstGeom prst="rect">
            <a:avLst/>
          </a:prstGeom>
        </p:spPr>
      </p:pic>
      <p:pic>
        <p:nvPicPr>
          <p:cNvPr id="46" name="Graphic 45">
            <a:extLst>
              <a:ext uri="{FF2B5EF4-FFF2-40B4-BE49-F238E27FC236}">
                <a16:creationId xmlns:a16="http://schemas.microsoft.com/office/drawing/2014/main" id="{0B408598-11E6-02CF-9836-B2093DD6DFB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4426929"/>
            <a:ext cx="274320" cy="274320"/>
          </a:xfrm>
          <a:prstGeom prst="rect">
            <a:avLst/>
          </a:prstGeom>
        </p:spPr>
      </p:pic>
      <p:grpSp>
        <p:nvGrpSpPr>
          <p:cNvPr id="47" name="Group 46">
            <a:extLst>
              <a:ext uri="{FF2B5EF4-FFF2-40B4-BE49-F238E27FC236}">
                <a16:creationId xmlns:a16="http://schemas.microsoft.com/office/drawing/2014/main" id="{05AB3233-E8F5-5437-289A-86FFC73FFE69}"/>
              </a:ext>
            </a:extLst>
          </p:cNvPr>
          <p:cNvGrpSpPr/>
          <p:nvPr/>
        </p:nvGrpSpPr>
        <p:grpSpPr>
          <a:xfrm>
            <a:off x="9028609" y="5200250"/>
            <a:ext cx="2743200" cy="1200550"/>
            <a:chOff x="8423547" y="5280286"/>
            <a:chExt cx="2743200" cy="1200550"/>
          </a:xfrm>
        </p:grpSpPr>
        <p:grpSp>
          <p:nvGrpSpPr>
            <p:cNvPr id="48" name="Group 47">
              <a:extLst>
                <a:ext uri="{FF2B5EF4-FFF2-40B4-BE49-F238E27FC236}">
                  <a16:creationId xmlns:a16="http://schemas.microsoft.com/office/drawing/2014/main" id="{8E98433E-EDBE-7341-1017-BA377F7E0908}"/>
                </a:ext>
              </a:extLst>
            </p:cNvPr>
            <p:cNvGrpSpPr/>
            <p:nvPr/>
          </p:nvGrpSpPr>
          <p:grpSpPr>
            <a:xfrm rot="5400000">
              <a:off x="9741810" y="4939402"/>
              <a:ext cx="106680" cy="788447"/>
              <a:chOff x="8225720" y="3916141"/>
              <a:chExt cx="106680" cy="788447"/>
            </a:xfrm>
            <a:noFill/>
          </p:grpSpPr>
          <p:sp>
            <p:nvSpPr>
              <p:cNvPr id="58" name="Oval 57">
                <a:extLst>
                  <a:ext uri="{FF2B5EF4-FFF2-40B4-BE49-F238E27FC236}">
                    <a16:creationId xmlns:a16="http://schemas.microsoft.com/office/drawing/2014/main" id="{0F9EC674-242B-B197-0064-461505B83F44}"/>
                  </a:ext>
                </a:extLst>
              </p:cNvPr>
              <p:cNvSpPr/>
              <p:nvPr/>
            </p:nvSpPr>
            <p:spPr bwMode="auto">
              <a:xfrm>
                <a:off x="8225720" y="4254271"/>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DBE4EDDB-4BED-710E-0487-CC0A74B0B5D6}"/>
                  </a:ext>
                </a:extLst>
              </p:cNvPr>
              <p:cNvSpPr/>
              <p:nvPr/>
            </p:nvSpPr>
            <p:spPr bwMode="auto">
              <a:xfrm>
                <a:off x="8225720" y="4597908"/>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89E54FBA-B307-5535-A964-0D628AA0952D}"/>
                  </a:ext>
                </a:extLst>
              </p:cNvPr>
              <p:cNvSpPr/>
              <p:nvPr/>
            </p:nvSpPr>
            <p:spPr bwMode="auto">
              <a:xfrm>
                <a:off x="8225720" y="3916141"/>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5253DA5D-3F8B-F069-4E8A-1EA45683C95E}"/>
                </a:ext>
              </a:extLst>
            </p:cNvPr>
            <p:cNvGrpSpPr/>
            <p:nvPr/>
          </p:nvGrpSpPr>
          <p:grpSpPr>
            <a:xfrm>
              <a:off x="8423547" y="5337836"/>
              <a:ext cx="2743200" cy="1143000"/>
              <a:chOff x="8332107" y="5258144"/>
              <a:chExt cx="2743200" cy="1143000"/>
            </a:xfrm>
          </p:grpSpPr>
          <p:sp>
            <p:nvSpPr>
              <p:cNvPr id="50" name="Rectangle: Rounded Corners 49">
                <a:extLst>
                  <a:ext uri="{FF2B5EF4-FFF2-40B4-BE49-F238E27FC236}">
                    <a16:creationId xmlns:a16="http://schemas.microsoft.com/office/drawing/2014/main" id="{23D68B30-AAFE-1600-1F07-46AD6FC65AD2}"/>
                  </a:ext>
                  <a:ext uri="{C183D7F6-B498-43B3-948B-1728B52AA6E4}">
                    <adec:decorative xmlns:adec="http://schemas.microsoft.com/office/drawing/2017/decorative" val="1"/>
                  </a:ext>
                </a:extLst>
              </p:cNvPr>
              <p:cNvSpPr/>
              <p:nvPr/>
            </p:nvSpPr>
            <p:spPr bwMode="auto">
              <a:xfrm>
                <a:off x="8332107" y="5258144"/>
                <a:ext cx="2743200" cy="1143000"/>
              </a:xfrm>
              <a:prstGeom prst="round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51" name="Picture 50">
                <a:extLst>
                  <a:ext uri="{FF2B5EF4-FFF2-40B4-BE49-F238E27FC236}">
                    <a16:creationId xmlns:a16="http://schemas.microsoft.com/office/drawing/2014/main" id="{29747A40-ED3A-5C92-B303-420A7518931B}"/>
                  </a:ext>
                </a:extLst>
              </p:cNvPr>
              <p:cNvPicPr>
                <a:picLocks noChangeAspect="1"/>
              </p:cNvPicPr>
              <p:nvPr/>
            </p:nvPicPr>
            <p:blipFill>
              <a:blip r:embed="rId6"/>
              <a:stretch>
                <a:fillRect/>
              </a:stretch>
            </p:blipFill>
            <p:spPr>
              <a:xfrm>
                <a:off x="9602997" y="5907738"/>
                <a:ext cx="380189" cy="380189"/>
              </a:xfrm>
              <a:prstGeom prst="rect">
                <a:avLst/>
              </a:prstGeom>
            </p:spPr>
          </p:pic>
          <p:pic>
            <p:nvPicPr>
              <p:cNvPr id="52" name="Picture 51">
                <a:extLst>
                  <a:ext uri="{FF2B5EF4-FFF2-40B4-BE49-F238E27FC236}">
                    <a16:creationId xmlns:a16="http://schemas.microsoft.com/office/drawing/2014/main" id="{7BE979E9-6392-894D-832F-C47572990138}"/>
                  </a:ext>
                </a:extLst>
              </p:cNvPr>
              <p:cNvPicPr>
                <a:picLocks noChangeAspect="1"/>
              </p:cNvPicPr>
              <p:nvPr/>
            </p:nvPicPr>
            <p:blipFill>
              <a:blip r:embed="rId7"/>
              <a:stretch>
                <a:fillRect/>
              </a:stretch>
            </p:blipFill>
            <p:spPr>
              <a:xfrm>
                <a:off x="10076202" y="5867818"/>
                <a:ext cx="460029" cy="460029"/>
              </a:xfrm>
              <a:prstGeom prst="rect">
                <a:avLst/>
              </a:prstGeom>
            </p:spPr>
          </p:pic>
          <p:pic>
            <p:nvPicPr>
              <p:cNvPr id="53" name="Picture 52">
                <a:extLst>
                  <a:ext uri="{FF2B5EF4-FFF2-40B4-BE49-F238E27FC236}">
                    <a16:creationId xmlns:a16="http://schemas.microsoft.com/office/drawing/2014/main" id="{6EE3B8EB-EC6A-8BF9-4CA5-6EC2B1E5973B}"/>
                  </a:ext>
                </a:extLst>
              </p:cNvPr>
              <p:cNvPicPr>
                <a:picLocks noChangeAspect="1"/>
              </p:cNvPicPr>
              <p:nvPr/>
            </p:nvPicPr>
            <p:blipFill>
              <a:blip r:embed="rId8"/>
              <a:stretch>
                <a:fillRect/>
              </a:stretch>
            </p:blipFill>
            <p:spPr>
              <a:xfrm>
                <a:off x="9074840" y="5888728"/>
                <a:ext cx="418208" cy="418208"/>
              </a:xfrm>
              <a:prstGeom prst="rect">
                <a:avLst/>
              </a:prstGeom>
            </p:spPr>
          </p:pic>
          <p:pic>
            <p:nvPicPr>
              <p:cNvPr id="54" name="Graphic 53">
                <a:extLst>
                  <a:ext uri="{FF2B5EF4-FFF2-40B4-BE49-F238E27FC236}">
                    <a16:creationId xmlns:a16="http://schemas.microsoft.com/office/drawing/2014/main" id="{99290E71-65F5-AABF-830A-C9A131C1D4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67862" y="5903922"/>
                <a:ext cx="388383" cy="388383"/>
              </a:xfrm>
              <a:prstGeom prst="rect">
                <a:avLst/>
              </a:prstGeom>
            </p:spPr>
          </p:pic>
          <p:pic>
            <p:nvPicPr>
              <p:cNvPr id="55" name="Picture 54" descr="A red and black logo&#10;&#10;Description automatically generated with low confidence">
                <a:extLst>
                  <a:ext uri="{FF2B5EF4-FFF2-40B4-BE49-F238E27FC236}">
                    <a16:creationId xmlns:a16="http://schemas.microsoft.com/office/drawing/2014/main" id="{D5A7B937-35E7-CAC5-5920-F457987DDE1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530497" y="5514662"/>
                <a:ext cx="1238760" cy="157532"/>
              </a:xfrm>
              <a:prstGeom prst="rect">
                <a:avLst/>
              </a:prstGeom>
            </p:spPr>
          </p:pic>
          <p:pic>
            <p:nvPicPr>
              <p:cNvPr id="56" name="Picture 55">
                <a:extLst>
                  <a:ext uri="{FF2B5EF4-FFF2-40B4-BE49-F238E27FC236}">
                    <a16:creationId xmlns:a16="http://schemas.microsoft.com/office/drawing/2014/main" id="{8A3852DC-32EA-9A1D-CA09-0B177D9AB1FF}"/>
                  </a:ext>
                </a:extLst>
              </p:cNvPr>
              <p:cNvPicPr>
                <a:picLocks noChangeAspect="1"/>
              </p:cNvPicPr>
              <p:nvPr/>
            </p:nvPicPr>
            <p:blipFill>
              <a:blip r:embed="rId12"/>
              <a:stretch>
                <a:fillRect/>
              </a:stretch>
            </p:blipFill>
            <p:spPr>
              <a:xfrm>
                <a:off x="8451582" y="5844842"/>
                <a:ext cx="511192" cy="511192"/>
              </a:xfrm>
              <a:prstGeom prst="rect">
                <a:avLst/>
              </a:prstGeom>
            </p:spPr>
          </p:pic>
          <p:pic>
            <p:nvPicPr>
              <p:cNvPr id="57" name="Picture 56" descr="Logo&#10;&#10;Description automatically generated">
                <a:extLst>
                  <a:ext uri="{FF2B5EF4-FFF2-40B4-BE49-F238E27FC236}">
                    <a16:creationId xmlns:a16="http://schemas.microsoft.com/office/drawing/2014/main" id="{C9816CBB-0B16-1FF4-9F48-124D67EAFC72}"/>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8719049" y="5447066"/>
                <a:ext cx="591294" cy="292724"/>
              </a:xfrm>
              <a:prstGeom prst="rect">
                <a:avLst/>
              </a:prstGeom>
            </p:spPr>
          </p:pic>
        </p:grpSp>
      </p:grpSp>
      <p:cxnSp>
        <p:nvCxnSpPr>
          <p:cNvPr id="61" name="Connector: SOAP">
            <a:extLst>
              <a:ext uri="{FF2B5EF4-FFF2-40B4-BE49-F238E27FC236}">
                <a16:creationId xmlns:a16="http://schemas.microsoft.com/office/drawing/2014/main" id="{4649B2CC-5B74-B614-B061-FE97C952FFC0}"/>
              </a:ext>
            </a:extLst>
          </p:cNvPr>
          <p:cNvCxnSpPr>
            <a:cxnSpLocks/>
            <a:stCxn id="44" idx="3"/>
          </p:cNvCxnSpPr>
          <p:nvPr/>
        </p:nvCxnSpPr>
        <p:spPr>
          <a:xfrm>
            <a:off x="8877782" y="3884624"/>
            <a:ext cx="1863311" cy="1315623"/>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Connector: LDAP">
            <a:extLst>
              <a:ext uri="{FF2B5EF4-FFF2-40B4-BE49-F238E27FC236}">
                <a16:creationId xmlns:a16="http://schemas.microsoft.com/office/drawing/2014/main" id="{4E849790-2BC9-5AB8-0173-4AFFEADC5BAC}"/>
              </a:ext>
            </a:extLst>
          </p:cNvPr>
          <p:cNvCxnSpPr>
            <a:cxnSpLocks/>
            <a:stCxn id="45" idx="3"/>
          </p:cNvCxnSpPr>
          <p:nvPr/>
        </p:nvCxnSpPr>
        <p:spPr>
          <a:xfrm>
            <a:off x="8877782" y="4224357"/>
            <a:ext cx="1525181" cy="975890"/>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Connector: PowerShell">
            <a:extLst>
              <a:ext uri="{FF2B5EF4-FFF2-40B4-BE49-F238E27FC236}">
                <a16:creationId xmlns:a16="http://schemas.microsoft.com/office/drawing/2014/main" id="{F6BFA9A1-B47C-35AD-2C7F-F305EB6725F0}"/>
              </a:ext>
            </a:extLst>
          </p:cNvPr>
          <p:cNvCxnSpPr>
            <a:cxnSpLocks/>
            <a:stCxn id="46" idx="3"/>
          </p:cNvCxnSpPr>
          <p:nvPr/>
        </p:nvCxnSpPr>
        <p:spPr>
          <a:xfrm>
            <a:off x="8877782" y="4564089"/>
            <a:ext cx="1181544" cy="636158"/>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4" name="Label: SOAP">
            <a:extLst>
              <a:ext uri="{FF2B5EF4-FFF2-40B4-BE49-F238E27FC236}">
                <a16:creationId xmlns:a16="http://schemas.microsoft.com/office/drawing/2014/main" id="{3CEFB6F5-EE25-0B3D-200E-542E137A758C}"/>
              </a:ext>
            </a:extLst>
          </p:cNvPr>
          <p:cNvSpPr/>
          <p:nvPr/>
        </p:nvSpPr>
        <p:spPr>
          <a:xfrm>
            <a:off x="9253324" y="3787675"/>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OAP</a:t>
            </a:r>
          </a:p>
        </p:txBody>
      </p:sp>
      <p:sp>
        <p:nvSpPr>
          <p:cNvPr id="65" name="Label: LDAP">
            <a:extLst>
              <a:ext uri="{FF2B5EF4-FFF2-40B4-BE49-F238E27FC236}">
                <a16:creationId xmlns:a16="http://schemas.microsoft.com/office/drawing/2014/main" id="{34B309D0-4D57-D280-D0A1-A97C1494AF06}"/>
              </a:ext>
            </a:extLst>
          </p:cNvPr>
          <p:cNvSpPr/>
          <p:nvPr/>
        </p:nvSpPr>
        <p:spPr>
          <a:xfrm>
            <a:off x="9253324" y="4127408"/>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LDAP</a:t>
            </a:r>
          </a:p>
        </p:txBody>
      </p:sp>
      <p:sp>
        <p:nvSpPr>
          <p:cNvPr id="66" name="Label: PowerShell">
            <a:extLst>
              <a:ext uri="{FF2B5EF4-FFF2-40B4-BE49-F238E27FC236}">
                <a16:creationId xmlns:a16="http://schemas.microsoft.com/office/drawing/2014/main" id="{65F82BDF-AD6E-9C95-B9CD-561819952DA0}"/>
              </a:ext>
            </a:extLst>
          </p:cNvPr>
          <p:cNvSpPr/>
          <p:nvPr/>
        </p:nvSpPr>
        <p:spPr>
          <a:xfrm>
            <a:off x="9253324" y="4467140"/>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PS</a:t>
            </a:r>
          </a:p>
        </p:txBody>
      </p:sp>
      <p:pic>
        <p:nvPicPr>
          <p:cNvPr id="67" name="Graphic: SCIM">
            <a:extLst>
              <a:ext uri="{FF2B5EF4-FFF2-40B4-BE49-F238E27FC236}">
                <a16:creationId xmlns:a16="http://schemas.microsoft.com/office/drawing/2014/main" id="{CCA0DF24-9899-47CC-B3F3-C533BDBD4D3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7586" y="3374707"/>
            <a:ext cx="274320" cy="274320"/>
          </a:xfrm>
          <a:prstGeom prst="rect">
            <a:avLst/>
          </a:prstGeom>
        </p:spPr>
      </p:pic>
      <p:cxnSp>
        <p:nvCxnSpPr>
          <p:cNvPr id="68" name="Connector: SCIM">
            <a:extLst>
              <a:ext uri="{FF2B5EF4-FFF2-40B4-BE49-F238E27FC236}">
                <a16:creationId xmlns:a16="http://schemas.microsoft.com/office/drawing/2014/main" id="{6754F726-DF94-2489-1698-2CF7ABE47B2B}"/>
              </a:ext>
            </a:extLst>
          </p:cNvPr>
          <p:cNvCxnSpPr>
            <a:cxnSpLocks/>
          </p:cNvCxnSpPr>
          <p:nvPr/>
        </p:nvCxnSpPr>
        <p:spPr>
          <a:xfrm>
            <a:off x="8880284" y="3493519"/>
            <a:ext cx="2234619" cy="1703980"/>
          </a:xfrm>
          <a:prstGeom prst="bentConnector3">
            <a:avLst>
              <a:gd name="adj1" fmla="val 100044"/>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Label: SCIM">
            <a:extLst>
              <a:ext uri="{FF2B5EF4-FFF2-40B4-BE49-F238E27FC236}">
                <a16:creationId xmlns:a16="http://schemas.microsoft.com/office/drawing/2014/main" id="{83530191-465F-0C76-2B34-3740AF8F5C4C}"/>
              </a:ext>
            </a:extLst>
          </p:cNvPr>
          <p:cNvSpPr/>
          <p:nvPr/>
        </p:nvSpPr>
        <p:spPr>
          <a:xfrm>
            <a:off x="9257448" y="3414918"/>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CIM</a:t>
            </a:r>
          </a:p>
        </p:txBody>
      </p:sp>
      <p:pic>
        <p:nvPicPr>
          <p:cNvPr id="70" name="Graphic: SQL">
            <a:extLst>
              <a:ext uri="{FF2B5EF4-FFF2-40B4-BE49-F238E27FC236}">
                <a16:creationId xmlns:a16="http://schemas.microsoft.com/office/drawing/2014/main" id="{6804AEB4-B5DE-9502-983A-77E8E3F6E2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11095" y="4751638"/>
            <a:ext cx="274320" cy="274320"/>
          </a:xfrm>
          <a:prstGeom prst="rect">
            <a:avLst/>
          </a:prstGeom>
        </p:spPr>
      </p:pic>
      <p:cxnSp>
        <p:nvCxnSpPr>
          <p:cNvPr id="71" name="Connector: SQL">
            <a:extLst>
              <a:ext uri="{FF2B5EF4-FFF2-40B4-BE49-F238E27FC236}">
                <a16:creationId xmlns:a16="http://schemas.microsoft.com/office/drawing/2014/main" id="{6CE029E7-F6BA-616A-A5A7-4EF9FF144AA2}"/>
              </a:ext>
            </a:extLst>
          </p:cNvPr>
          <p:cNvCxnSpPr>
            <a:cxnSpLocks/>
          </p:cNvCxnSpPr>
          <p:nvPr/>
        </p:nvCxnSpPr>
        <p:spPr>
          <a:xfrm>
            <a:off x="8888754" y="4877042"/>
            <a:ext cx="864000" cy="324000"/>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Label: SQL">
            <a:extLst>
              <a:ext uri="{FF2B5EF4-FFF2-40B4-BE49-F238E27FC236}">
                <a16:creationId xmlns:a16="http://schemas.microsoft.com/office/drawing/2014/main" id="{678F84E6-D4D7-7402-9633-A0155899591D}"/>
              </a:ext>
            </a:extLst>
          </p:cNvPr>
          <p:cNvSpPr/>
          <p:nvPr/>
        </p:nvSpPr>
        <p:spPr>
          <a:xfrm>
            <a:off x="9250111" y="4785164"/>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QL</a:t>
            </a:r>
          </a:p>
        </p:txBody>
      </p:sp>
      <p:pic>
        <p:nvPicPr>
          <p:cNvPr id="73" name="Graphic 72">
            <a:extLst>
              <a:ext uri="{FF2B5EF4-FFF2-40B4-BE49-F238E27FC236}">
                <a16:creationId xmlns:a16="http://schemas.microsoft.com/office/drawing/2014/main" id="{4372A2B3-070A-5E08-33D3-2B986325490C}"/>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168540" y="1485246"/>
            <a:ext cx="818417" cy="818417"/>
          </a:xfrm>
          <a:prstGeom prst="rect">
            <a:avLst/>
          </a:prstGeom>
        </p:spPr>
      </p:pic>
    </p:spTree>
    <p:extLst>
      <p:ext uri="{BB962C8B-B14F-4D97-AF65-F5344CB8AC3E}">
        <p14:creationId xmlns:p14="http://schemas.microsoft.com/office/powerpoint/2010/main" val="61009877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35155B-D9E7-02E8-7147-A0D961B36752}"/>
              </a:ext>
            </a:extLst>
          </p:cNvPr>
          <p:cNvSpPr>
            <a:spLocks noGrp="1"/>
          </p:cNvSpPr>
          <p:nvPr>
            <p:ph type="title"/>
          </p:nvPr>
        </p:nvSpPr>
        <p:spPr/>
        <p:txBody>
          <a:bodyPr/>
          <a:lstStyle/>
          <a:p>
            <a:r>
              <a:rPr lang="pt-BR"/>
              <a:t>Access Management </a:t>
            </a:r>
            <a:endParaRPr lang="en-US"/>
          </a:p>
        </p:txBody>
      </p:sp>
      <p:sp>
        <p:nvSpPr>
          <p:cNvPr id="2" name="Text Placeholder 1">
            <a:extLst>
              <a:ext uri="{FF2B5EF4-FFF2-40B4-BE49-F238E27FC236}">
                <a16:creationId xmlns:a16="http://schemas.microsoft.com/office/drawing/2014/main" id="{B02C0931-4AC4-5E6F-A6CB-3CEBA53BF0B8}"/>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065096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Security Groups</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11018838" cy="4912114"/>
          </a:xfrm>
        </p:spPr>
        <p:txBody>
          <a:bodyPr vert="horz" wrap="square" lIns="0" tIns="0" rIns="0" bIns="0" rtlCol="0" anchor="t">
            <a:spAutoFit/>
          </a:bodyPr>
          <a:lstStyle/>
          <a:p>
            <a:r>
              <a:rPr lang="en-US" b="0" i="0">
                <a:solidFill>
                  <a:srgbClr val="161616"/>
                </a:solidFill>
                <a:effectLst/>
                <a:highlight>
                  <a:srgbClr val="FFFFFF"/>
                </a:highlight>
                <a:latin typeface="Segoe UI"/>
                <a:cs typeface="Segoe UI"/>
              </a:rPr>
              <a:t>Microsoft Entra makes group memberships available to applications via SAML claims, provisioning, or by </a:t>
            </a:r>
            <a:r>
              <a:rPr lang="en-US">
                <a:solidFill>
                  <a:srgbClr val="161616"/>
                </a:solidFill>
                <a:highlight>
                  <a:srgbClr val="FFFFFF"/>
                </a:highlight>
                <a:latin typeface="Segoe UI"/>
                <a:cs typeface="Segoe UI"/>
                <a:hlinkClick r:id="rId2"/>
              </a:rPr>
              <a:t>provisioning</a:t>
            </a:r>
            <a:r>
              <a:rPr lang="en-US" b="0" i="0" u="none" strike="noStrike">
                <a:solidFill>
                  <a:srgbClr val="161616"/>
                </a:solidFill>
                <a:effectLst/>
                <a:highlight>
                  <a:srgbClr val="FFFFFF"/>
                </a:highlight>
                <a:latin typeface="Segoe UI"/>
                <a:cs typeface="Segoe UI"/>
                <a:hlinkClick r:id="rId2"/>
              </a:rPr>
              <a:t> </a:t>
            </a:r>
            <a:r>
              <a:rPr lang="en-US">
                <a:solidFill>
                  <a:srgbClr val="161616"/>
                </a:solidFill>
                <a:highlight>
                  <a:srgbClr val="FFFFFF"/>
                </a:highlight>
                <a:latin typeface="Segoe UI"/>
                <a:cs typeface="Segoe UI"/>
                <a:hlinkClick r:id="rId2"/>
              </a:rPr>
              <a:t>security </a:t>
            </a:r>
            <a:r>
              <a:rPr lang="en-US" b="0" i="0" u="none" strike="noStrike">
                <a:solidFill>
                  <a:srgbClr val="161616"/>
                </a:solidFill>
                <a:effectLst/>
                <a:highlight>
                  <a:srgbClr val="FFFFFF"/>
                </a:highlight>
                <a:latin typeface="Segoe UI"/>
                <a:cs typeface="Segoe UI"/>
                <a:hlinkClick r:id="rId2"/>
              </a:rPr>
              <a:t>groups to </a:t>
            </a:r>
            <a:r>
              <a:rPr lang="en-US" err="1">
                <a:solidFill>
                  <a:srgbClr val="161616"/>
                </a:solidFill>
                <a:highlight>
                  <a:srgbClr val="FFFFFF"/>
                </a:highlight>
                <a:latin typeface="Segoe UI"/>
                <a:cs typeface="Segoe UI"/>
                <a:hlinkClick r:id="rId2"/>
              </a:rPr>
              <a:t>WindowsServer</a:t>
            </a:r>
            <a:r>
              <a:rPr lang="en-US" b="0" i="0" u="none" strike="noStrike">
                <a:solidFill>
                  <a:srgbClr val="161616"/>
                </a:solidFill>
                <a:effectLst/>
                <a:highlight>
                  <a:srgbClr val="FFFFFF"/>
                </a:highlight>
                <a:latin typeface="Segoe UI"/>
                <a:cs typeface="Segoe UI"/>
                <a:hlinkClick r:id="rId2"/>
              </a:rPr>
              <a:t> AD</a:t>
            </a:r>
            <a:r>
              <a:rPr lang="en-US" b="0" i="0">
                <a:solidFill>
                  <a:srgbClr val="161616"/>
                </a:solidFill>
                <a:effectLst/>
                <a:highlight>
                  <a:srgbClr val="FFFFFF"/>
                </a:highlight>
                <a:latin typeface="Segoe UI"/>
                <a:cs typeface="Segoe UI"/>
              </a:rPr>
              <a:t>. SAP Cloud Identity Services can read groups from Microsoft Entra ID via Graph, and provision those groups to other SAP applications.</a:t>
            </a:r>
          </a:p>
          <a:p>
            <a:pPr algn="l"/>
            <a:r>
              <a:rPr lang="en-US" b="0" i="0">
                <a:solidFill>
                  <a:srgbClr val="161616"/>
                </a:solidFill>
                <a:effectLst/>
                <a:highlight>
                  <a:srgbClr val="FFFFFF"/>
                </a:highlight>
                <a:latin typeface="Segoe UI"/>
                <a:cs typeface="Segoe UI"/>
              </a:rPr>
              <a:t>Administrators can </a:t>
            </a:r>
            <a:r>
              <a:rPr lang="en-US" b="0" i="0" u="none" strike="noStrike">
                <a:solidFill>
                  <a:srgbClr val="161616"/>
                </a:solidFill>
                <a:effectLst/>
                <a:highlight>
                  <a:srgbClr val="FFFFFF"/>
                </a:highlight>
                <a:latin typeface="Segoe UI"/>
                <a:cs typeface="Segoe UI"/>
                <a:hlinkClick r:id="rId3"/>
              </a:rPr>
              <a:t>manage group membership</a:t>
            </a:r>
            <a:r>
              <a:rPr lang="en-US" b="0" i="0">
                <a:solidFill>
                  <a:srgbClr val="161616"/>
                </a:solidFill>
                <a:effectLst/>
                <a:highlight>
                  <a:srgbClr val="FFFFFF"/>
                </a:highlight>
                <a:latin typeface="Segoe UI"/>
                <a:cs typeface="Segoe UI"/>
              </a:rPr>
              <a:t>, create </a:t>
            </a:r>
            <a:r>
              <a:rPr lang="en-US" b="0" i="0" u="none" strike="noStrike">
                <a:solidFill>
                  <a:srgbClr val="161616"/>
                </a:solidFill>
                <a:effectLst/>
                <a:highlight>
                  <a:srgbClr val="FFFFFF"/>
                </a:highlight>
                <a:latin typeface="Segoe UI"/>
                <a:cs typeface="Segoe UI"/>
                <a:hlinkClick r:id="rId4"/>
              </a:rPr>
              <a:t>access reviews of group memberships</a:t>
            </a:r>
            <a:r>
              <a:rPr lang="en-US" b="0" i="0">
                <a:solidFill>
                  <a:srgbClr val="161616"/>
                </a:solidFill>
                <a:effectLst/>
                <a:highlight>
                  <a:srgbClr val="FFFFFF"/>
                </a:highlight>
                <a:latin typeface="Segoe UI"/>
                <a:cs typeface="Segoe UI"/>
              </a:rPr>
              <a:t>, and enable </a:t>
            </a:r>
            <a:r>
              <a:rPr lang="en-US" b="0" i="0" u="none" strike="noStrike">
                <a:solidFill>
                  <a:srgbClr val="161616"/>
                </a:solidFill>
                <a:effectLst/>
                <a:highlight>
                  <a:srgbClr val="FFFFFF"/>
                </a:highlight>
                <a:latin typeface="Segoe UI"/>
                <a:cs typeface="Segoe UI"/>
                <a:hlinkClick r:id="rId5"/>
              </a:rPr>
              <a:t>self-service group management</a:t>
            </a:r>
            <a:r>
              <a:rPr lang="en-US" b="0" i="0">
                <a:solidFill>
                  <a:srgbClr val="161616"/>
                </a:solidFill>
                <a:effectLst/>
                <a:highlight>
                  <a:srgbClr val="FFFFFF"/>
                </a:highlight>
                <a:latin typeface="Segoe UI"/>
                <a:cs typeface="Segoe UI"/>
              </a:rPr>
              <a:t>. </a:t>
            </a:r>
          </a:p>
          <a:p>
            <a:pPr algn="l"/>
            <a:r>
              <a:rPr lang="en-US" b="0" i="0">
                <a:solidFill>
                  <a:srgbClr val="161616"/>
                </a:solidFill>
                <a:effectLst/>
                <a:highlight>
                  <a:srgbClr val="FFFFFF"/>
                </a:highlight>
                <a:latin typeface="Segoe UI"/>
                <a:cs typeface="Segoe UI"/>
              </a:rPr>
              <a:t>Use Privileged Identity Management (PIM) </a:t>
            </a:r>
            <a:r>
              <a:rPr lang="en-US" b="0" i="0" u="none" strike="noStrike">
                <a:solidFill>
                  <a:srgbClr val="161616"/>
                </a:solidFill>
                <a:effectLst/>
                <a:highlight>
                  <a:srgbClr val="FFFFFF"/>
                </a:highlight>
                <a:latin typeface="Segoe UI"/>
                <a:cs typeface="Segoe UI"/>
                <a:hlinkClick r:id="rId6"/>
              </a:rPr>
              <a:t>for groups</a:t>
            </a:r>
            <a:r>
              <a:rPr lang="en-US" b="0" i="0">
                <a:solidFill>
                  <a:srgbClr val="161616"/>
                </a:solidFill>
                <a:effectLst/>
                <a:highlight>
                  <a:srgbClr val="FFFFFF"/>
                </a:highlight>
                <a:latin typeface="Segoe UI"/>
                <a:cs typeface="Segoe UI"/>
              </a:rPr>
              <a:t> to manage just-in-time membership in the group or just-in-time ownership of the group.</a:t>
            </a:r>
          </a:p>
        </p:txBody>
      </p:sp>
    </p:spTree>
    <p:extLst>
      <p:ext uri="{BB962C8B-B14F-4D97-AF65-F5344CB8AC3E}">
        <p14:creationId xmlns:p14="http://schemas.microsoft.com/office/powerpoint/2010/main" val="29803951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8BA61-CC54-C199-4E26-80F9F803D3D2}"/>
              </a:ext>
            </a:extLst>
          </p:cNvPr>
          <p:cNvSpPr>
            <a:spLocks noGrp="1"/>
          </p:cNvSpPr>
          <p:nvPr>
            <p:ph type="title"/>
          </p:nvPr>
        </p:nvSpPr>
        <p:spPr/>
        <p:txBody>
          <a:bodyPr/>
          <a:lstStyle/>
          <a:p>
            <a:r>
              <a:rPr lang="en-US" b="1" i="0">
                <a:effectLst/>
                <a:latin typeface="SegoeUIVariable"/>
              </a:rPr>
              <a:t>IAM &amp; SAP Modernization: A Strategic Alignment</a:t>
            </a:r>
            <a:endParaRPr lang="en-US"/>
          </a:p>
        </p:txBody>
      </p:sp>
      <p:sp>
        <p:nvSpPr>
          <p:cNvPr id="3" name="Content Placeholder 2">
            <a:extLst>
              <a:ext uri="{FF2B5EF4-FFF2-40B4-BE49-F238E27FC236}">
                <a16:creationId xmlns:a16="http://schemas.microsoft.com/office/drawing/2014/main" id="{F02F36C2-C2EE-8FE5-63F9-E27EBEE2A5CB}"/>
              </a:ext>
            </a:extLst>
          </p:cNvPr>
          <p:cNvSpPr>
            <a:spLocks noGrp="1"/>
          </p:cNvSpPr>
          <p:nvPr>
            <p:ph sz="quarter" idx="10"/>
          </p:nvPr>
        </p:nvSpPr>
        <p:spPr>
          <a:xfrm>
            <a:off x="584200" y="1435100"/>
            <a:ext cx="11018838" cy="5170646"/>
          </a:xfrm>
        </p:spPr>
        <p:txBody>
          <a:bodyPr/>
          <a:lstStyle/>
          <a:p>
            <a:pPr marL="0" indent="0">
              <a:buNone/>
            </a:pPr>
            <a:r>
              <a:rPr lang="en-US"/>
              <a:t>IAM modernization represents a critical phase within the larger SAP modernization journey. </a:t>
            </a:r>
          </a:p>
          <a:p>
            <a:pPr marL="0" indent="0">
              <a:buNone/>
            </a:pPr>
            <a:endParaRPr lang="en-US"/>
          </a:p>
          <a:p>
            <a:r>
              <a:rPr lang="en-US" b="1"/>
              <a:t>IAM Scenario Migration</a:t>
            </a:r>
            <a:r>
              <a:rPr lang="en-US"/>
              <a:t>: Streamlining identity management by transitioning from SAP IDM to Microsoft Entra.</a:t>
            </a:r>
          </a:p>
          <a:p>
            <a:r>
              <a:rPr lang="en-US" b="1"/>
              <a:t>SAP Modernization</a:t>
            </a:r>
            <a:r>
              <a:rPr lang="en-US"/>
              <a:t>: Moving to cloud-based solutions like HCM to SuccessFactors for HCM and SAP R/3 to S/4HANA.</a:t>
            </a:r>
          </a:p>
          <a:p>
            <a:r>
              <a:rPr lang="en-US" b="1"/>
              <a:t>Consolidation</a:t>
            </a:r>
            <a:r>
              <a:rPr lang="en-US"/>
              <a:t>: Cleaning up outdated integrations, roles, and access rights.</a:t>
            </a:r>
          </a:p>
          <a:p>
            <a:r>
              <a:rPr lang="en-US" b="1"/>
              <a:t>Customer Journey</a:t>
            </a:r>
            <a:r>
              <a:rPr lang="en-US"/>
              <a:t>: Each step, whether adopting SuccessFactors or planning for S/4HANA, is part of the overall modernization direction.</a:t>
            </a:r>
          </a:p>
        </p:txBody>
      </p:sp>
    </p:spTree>
    <p:extLst>
      <p:ext uri="{BB962C8B-B14F-4D97-AF65-F5344CB8AC3E}">
        <p14:creationId xmlns:p14="http://schemas.microsoft.com/office/powerpoint/2010/main" val="222070253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Security Groups</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4489229" cy="4481227"/>
          </a:xfrm>
        </p:spPr>
        <p:txBody>
          <a:bodyPr vert="horz" wrap="square" lIns="0" tIns="0" rIns="0" bIns="0" rtlCol="0" anchor="t">
            <a:spAutoFit/>
          </a:bodyPr>
          <a:lstStyle/>
          <a:p>
            <a:r>
              <a:rPr lang="en-US" b="0" i="0">
                <a:solidFill>
                  <a:srgbClr val="161616"/>
                </a:solidFill>
                <a:effectLst/>
                <a:highlight>
                  <a:srgbClr val="FFFFFF"/>
                </a:highlight>
                <a:latin typeface="Segoe UI"/>
                <a:cs typeface="Segoe UI"/>
              </a:rPr>
              <a:t>Reuse </a:t>
            </a:r>
            <a:r>
              <a:rPr lang="en-US" b="1" i="0">
                <a:solidFill>
                  <a:srgbClr val="161616"/>
                </a:solidFill>
                <a:effectLst/>
                <a:highlight>
                  <a:srgbClr val="FFFFFF"/>
                </a:highlight>
                <a:latin typeface="Segoe UI"/>
                <a:cs typeface="Segoe UI"/>
              </a:rPr>
              <a:t>existing groups </a:t>
            </a:r>
            <a:r>
              <a:rPr lang="en-US" b="0" i="0">
                <a:solidFill>
                  <a:srgbClr val="161616"/>
                </a:solidFill>
                <a:effectLst/>
                <a:highlight>
                  <a:srgbClr val="FFFFFF"/>
                </a:highlight>
                <a:latin typeface="Segoe UI"/>
                <a:cs typeface="Segoe UI"/>
              </a:rPr>
              <a:t>or u</a:t>
            </a:r>
            <a:r>
              <a:rPr lang="en-US">
                <a:solidFill>
                  <a:srgbClr val="161616"/>
                </a:solidFill>
                <a:highlight>
                  <a:srgbClr val="FFFFFF"/>
                </a:highlight>
                <a:latin typeface="Segoe UI"/>
                <a:cs typeface="Segoe UI"/>
              </a:rPr>
              <a:t>se </a:t>
            </a:r>
            <a:r>
              <a:rPr lang="en-US" b="1">
                <a:solidFill>
                  <a:srgbClr val="161616"/>
                </a:solidFill>
                <a:highlight>
                  <a:srgbClr val="FFFFFF"/>
                </a:highlight>
                <a:latin typeface="Segoe UI"/>
                <a:cs typeface="Segoe UI"/>
              </a:rPr>
              <a:t>Dynamic Groups </a:t>
            </a:r>
            <a:r>
              <a:rPr lang="en-US">
                <a:solidFill>
                  <a:srgbClr val="161616"/>
                </a:solidFill>
                <a:highlight>
                  <a:srgbClr val="FFFFFF"/>
                </a:highlight>
                <a:latin typeface="Segoe UI"/>
                <a:cs typeface="Segoe UI"/>
              </a:rPr>
              <a:t>to reduce group administration fatigue.</a:t>
            </a:r>
          </a:p>
          <a:p>
            <a:r>
              <a:rPr lang="en-US">
                <a:solidFill>
                  <a:srgbClr val="161616"/>
                </a:solidFill>
                <a:highlight>
                  <a:srgbClr val="FFFFFF"/>
                </a:highlight>
                <a:latin typeface="Segoe UI"/>
                <a:cs typeface="Segoe UI"/>
              </a:rPr>
              <a:t>User PowerShell scripts to manage large set of Groups.</a:t>
            </a:r>
          </a:p>
          <a:p>
            <a:r>
              <a:rPr lang="en-US">
                <a:hlinkClick r:id="rId3"/>
              </a:rPr>
              <a:t>Using Microsoft Entra ID to secure access to SAP platforms and applications</a:t>
            </a:r>
            <a:endParaRPr lang="en-US" b="0" i="0">
              <a:solidFill>
                <a:srgbClr val="161616"/>
              </a:solidFill>
              <a:effectLst/>
              <a:highlight>
                <a:srgbClr val="FFFFFF"/>
              </a:highlight>
              <a:latin typeface="Segoe UI"/>
              <a:cs typeface="Segoe UI"/>
            </a:endParaRPr>
          </a:p>
        </p:txBody>
      </p:sp>
      <p:grpSp>
        <p:nvGrpSpPr>
          <p:cNvPr id="5" name="Group 4">
            <a:extLst>
              <a:ext uri="{FF2B5EF4-FFF2-40B4-BE49-F238E27FC236}">
                <a16:creationId xmlns:a16="http://schemas.microsoft.com/office/drawing/2014/main" id="{DE545AA9-84C1-FA91-048E-B7CC71D32E5C}"/>
              </a:ext>
            </a:extLst>
          </p:cNvPr>
          <p:cNvGrpSpPr/>
          <p:nvPr/>
        </p:nvGrpSpPr>
        <p:grpSpPr>
          <a:xfrm>
            <a:off x="5073429" y="1435100"/>
            <a:ext cx="7020941" cy="4568112"/>
            <a:chOff x="2583148" y="1865987"/>
            <a:chExt cx="7020941" cy="4568112"/>
          </a:xfrm>
        </p:grpSpPr>
        <p:pic>
          <p:nvPicPr>
            <p:cNvPr id="2052" name="Picture 4" descr="Using Role Collections in SAP">
              <a:extLst>
                <a:ext uri="{FF2B5EF4-FFF2-40B4-BE49-F238E27FC236}">
                  <a16:creationId xmlns:a16="http://schemas.microsoft.com/office/drawing/2014/main" id="{FAAD4382-CE11-91C6-F006-D9B579319A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3148" y="1865987"/>
              <a:ext cx="7020941" cy="45681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0CAE9A0-53F2-C5F4-189B-7DD570599611}"/>
                </a:ext>
              </a:extLst>
            </p:cNvPr>
            <p:cNvSpPr txBox="1"/>
            <p:nvPr/>
          </p:nvSpPr>
          <p:spPr>
            <a:xfrm>
              <a:off x="2801567" y="1975860"/>
              <a:ext cx="1650132" cy="184666"/>
            </a:xfrm>
            <a:prstGeom prst="rect">
              <a:avLst/>
            </a:prstGeom>
            <a:solidFill>
              <a:schemeClr val="bg1"/>
            </a:solidFill>
          </p:spPr>
          <p:txBody>
            <a:bodyPr wrap="none" lIns="0" tIns="0" rIns="0" bIns="0" rtlCol="0">
              <a:spAutoFit/>
            </a:bodyPr>
            <a:lstStyle/>
            <a:p>
              <a:pPr algn="l"/>
              <a:r>
                <a:rPr lang="pt-BR" sz="1200" b="1"/>
                <a:t>Microsoft Entra Tenant</a:t>
              </a:r>
              <a:endParaRPr lang="en-US" sz="1200" b="1" err="1"/>
            </a:p>
          </p:txBody>
        </p:sp>
      </p:grpSp>
    </p:spTree>
    <p:extLst>
      <p:ext uri="{BB962C8B-B14F-4D97-AF65-F5344CB8AC3E}">
        <p14:creationId xmlns:p14="http://schemas.microsoft.com/office/powerpoint/2010/main" val="35005702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Entitlement Management</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4763770" cy="4308872"/>
          </a:xfrm>
        </p:spPr>
        <p:txBody>
          <a:bodyPr/>
          <a:lstStyle/>
          <a:p>
            <a:r>
              <a:rPr lang="en-US" b="0" i="0">
                <a:solidFill>
                  <a:srgbClr val="161616"/>
                </a:solidFill>
                <a:effectLst/>
                <a:highlight>
                  <a:srgbClr val="FFFFFF"/>
                </a:highlight>
                <a:latin typeface="Segoe UI" panose="020B0502040204020203" pitchFamily="34" charset="0"/>
              </a:rPr>
              <a:t>Entitlement management is an identity governance feature that enables organizations to manage identity and access lifecycle at scale, by automating access request and approval workflows, access assignments, reviews, </a:t>
            </a:r>
            <a:r>
              <a:rPr lang="en-US" b="0" i="0" err="1">
                <a:solidFill>
                  <a:srgbClr val="161616"/>
                </a:solidFill>
                <a:effectLst/>
                <a:highlight>
                  <a:srgbClr val="FFFFFF"/>
                </a:highlight>
                <a:latin typeface="Segoe UI" panose="020B0502040204020203" pitchFamily="34" charset="0"/>
              </a:rPr>
              <a:t>SoD</a:t>
            </a:r>
            <a:r>
              <a:rPr lang="en-US" b="0" i="0">
                <a:solidFill>
                  <a:srgbClr val="161616"/>
                </a:solidFill>
                <a:effectLst/>
                <a:highlight>
                  <a:srgbClr val="FFFFFF"/>
                </a:highlight>
                <a:latin typeface="Segoe UI" panose="020B0502040204020203" pitchFamily="34" charset="0"/>
              </a:rPr>
              <a:t>, and expiration. </a:t>
            </a:r>
            <a:endParaRPr lang="en-US"/>
          </a:p>
        </p:txBody>
      </p:sp>
      <p:pic>
        <p:nvPicPr>
          <p:cNvPr id="6146" name="Picture 2" descr="Entitlement management overview diagram">
            <a:extLst>
              <a:ext uri="{FF2B5EF4-FFF2-40B4-BE49-F238E27FC236}">
                <a16:creationId xmlns:a16="http://schemas.microsoft.com/office/drawing/2014/main" id="{5295C6DA-E52D-5119-91B5-6C03EDA1DD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7970" y="1149668"/>
            <a:ext cx="6515100" cy="5534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71985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B33DD-07FB-91F8-0F5D-5D182D472512}"/>
              </a:ext>
            </a:extLst>
          </p:cNvPr>
          <p:cNvSpPr>
            <a:spLocks noGrp="1"/>
          </p:cNvSpPr>
          <p:nvPr>
            <p:ph type="title"/>
          </p:nvPr>
        </p:nvSpPr>
        <p:spPr/>
        <p:txBody>
          <a:bodyPr/>
          <a:lstStyle/>
          <a:p>
            <a:r>
              <a:rPr lang="pt-BR"/>
              <a:t>Demo – Group Mapping </a:t>
            </a:r>
            <a:r>
              <a:rPr lang="pt-BR" err="1"/>
              <a:t>Configuration</a:t>
            </a:r>
            <a:endParaRPr lang="en-US"/>
          </a:p>
        </p:txBody>
      </p:sp>
      <p:sp>
        <p:nvSpPr>
          <p:cNvPr id="5" name="Text Placeholder 4">
            <a:extLst>
              <a:ext uri="{FF2B5EF4-FFF2-40B4-BE49-F238E27FC236}">
                <a16:creationId xmlns:a16="http://schemas.microsoft.com/office/drawing/2014/main" id="{784753E2-4154-E77F-6676-5F8DA13944B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3237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BCB3F2-6331-9BB7-75E7-B147259D0DFA}"/>
              </a:ext>
            </a:extLst>
          </p:cNvPr>
          <p:cNvSpPr>
            <a:spLocks noGrp="1"/>
          </p:cNvSpPr>
          <p:nvPr>
            <p:ph type="title"/>
          </p:nvPr>
        </p:nvSpPr>
        <p:spPr>
          <a:xfrm>
            <a:off x="588263" y="457200"/>
            <a:ext cx="11018520" cy="923330"/>
          </a:xfrm>
        </p:spPr>
        <p:txBody>
          <a:bodyPr/>
          <a:lstStyle/>
          <a:p>
            <a:r>
              <a:rPr lang="en-US"/>
              <a:t>EM + Custom Extensions (Low-Code)</a:t>
            </a:r>
            <a:br>
              <a:rPr lang="en-US"/>
            </a:br>
            <a:r>
              <a:rPr lang="en-US" sz="2400"/>
              <a:t>General Availability</a:t>
            </a:r>
            <a:endParaRPr lang="en-US"/>
          </a:p>
        </p:txBody>
      </p:sp>
      <p:pic>
        <p:nvPicPr>
          <p:cNvPr id="1026" name="Picture 2">
            <a:extLst>
              <a:ext uri="{FF2B5EF4-FFF2-40B4-BE49-F238E27FC236}">
                <a16:creationId xmlns:a16="http://schemas.microsoft.com/office/drawing/2014/main" id="{D2393D04-C169-8AC6-683B-25148318BB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48" b="1048"/>
          <a:stretch/>
        </p:blipFill>
        <p:spPr bwMode="auto">
          <a:xfrm>
            <a:off x="6270789" y="2465636"/>
            <a:ext cx="5363430" cy="19267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1691B19-E963-FE52-DA14-6710FD61B3C2}"/>
              </a:ext>
            </a:extLst>
          </p:cNvPr>
          <p:cNvSpPr txBox="1"/>
          <p:nvPr/>
        </p:nvSpPr>
        <p:spPr>
          <a:xfrm>
            <a:off x="588263" y="1928972"/>
            <a:ext cx="5332950" cy="486287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Use low-code solution, like </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hlinkClick r:id="rId4"/>
              </a:rPr>
              <a:t>Azure Logic Apps</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 to automate custom workflows and connect apps and services in one pla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Broaden your governance workflows beyond the core entitlement management use c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Example</a:t>
            </a:r>
            <a:b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br>
            <a:b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b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An admin could create and link a custom Logic App to entitlement management, so that when a user requests an access package, a Logic App is triggered that ensures the user is also assigned certain characteristics in a third-party App or perform GRC/</a:t>
            </a:r>
            <a:r>
              <a:rPr kumimoji="0" lang="en-US" sz="1800" b="0" i="0" u="none" strike="noStrike" kern="1200" cap="none" spc="0" normalizeH="0" baseline="0" noProof="0" err="1">
                <a:ln>
                  <a:noFill/>
                </a:ln>
                <a:solidFill>
                  <a:srgbClr val="161616"/>
                </a:solidFill>
                <a:effectLst/>
                <a:uLnTx/>
                <a:uFillTx/>
                <a:latin typeface="Segoe UI" panose="020B0502040204020203" pitchFamily="34" charset="0"/>
                <a:ea typeface="+mn-ea"/>
                <a:cs typeface="+mn-cs"/>
              </a:rPr>
              <a:t>SoD</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 che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rgbClr val="161616"/>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hlinkClick r:id="rId5"/>
              </a:rPr>
              <a:t>Trigger Logic Apps with custom extensions in entitlement management</a:t>
            </a:r>
            <a:endPar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2298058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a:xfrm>
            <a:off x="588263" y="457200"/>
            <a:ext cx="11018520" cy="1107996"/>
          </a:xfrm>
        </p:spPr>
        <p:txBody>
          <a:bodyPr/>
          <a:lstStyle/>
          <a:p>
            <a:r>
              <a:rPr lang="en-US"/>
              <a:t>Access Management via Entitlement Management + external GRC product</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7411720" cy="3102388"/>
          </a:xfrm>
        </p:spPr>
        <p:txBody>
          <a:bodyPr/>
          <a:lstStyle/>
          <a:p>
            <a:endParaRPr lang="en-US" b="0" i="0">
              <a:solidFill>
                <a:srgbClr val="161616"/>
              </a:solidFill>
              <a:effectLst/>
              <a:highlight>
                <a:srgbClr val="FFFFFF"/>
              </a:highlight>
              <a:latin typeface="Segoe UI" panose="020B0502040204020203" pitchFamily="34" charset="0"/>
            </a:endParaRPr>
          </a:p>
          <a:p>
            <a:pPr marL="0" indent="0">
              <a:buNone/>
            </a:pPr>
            <a:r>
              <a:rPr lang="en-US" b="0" i="0">
                <a:solidFill>
                  <a:srgbClr val="161616"/>
                </a:solidFill>
                <a:effectLst/>
                <a:highlight>
                  <a:srgbClr val="FFFFFF"/>
                </a:highlight>
                <a:latin typeface="Segoe UI" panose="020B0502040204020203" pitchFamily="34" charset="0"/>
              </a:rPr>
              <a:t>With the integration from Microsoft Entra ID Governance to </a:t>
            </a:r>
            <a:r>
              <a:rPr lang="en-US" b="0" i="0" u="none" strike="noStrike" err="1">
                <a:effectLst/>
                <a:highlight>
                  <a:srgbClr val="FFFFFF"/>
                </a:highlight>
                <a:latin typeface="Segoe UI" panose="020B0502040204020203" pitchFamily="34" charset="0"/>
                <a:hlinkClick r:id="rId3"/>
              </a:rPr>
              <a:t>Pathlock</a:t>
            </a:r>
            <a:r>
              <a:rPr lang="en-US" b="0" i="0">
                <a:solidFill>
                  <a:srgbClr val="161616"/>
                </a:solidFill>
                <a:effectLst/>
                <a:highlight>
                  <a:srgbClr val="FFFFFF"/>
                </a:highlight>
                <a:latin typeface="Segoe UI" panose="020B0502040204020203" pitchFamily="34" charset="0"/>
              </a:rPr>
              <a:t> and other partner products, customers can take advantage of fine-grained separation-of-duties checks enforced in those products, with access packages in Microsoft Entra ID Governance.</a:t>
            </a:r>
            <a:endParaRPr lang="en-US"/>
          </a:p>
        </p:txBody>
      </p:sp>
      <p:pic>
        <p:nvPicPr>
          <p:cNvPr id="7" name="Picture 6">
            <a:extLst>
              <a:ext uri="{FF2B5EF4-FFF2-40B4-BE49-F238E27FC236}">
                <a16:creationId xmlns:a16="http://schemas.microsoft.com/office/drawing/2014/main" id="{9A508E4D-5367-9EFD-423C-FC75CCF8B542}"/>
              </a:ext>
            </a:extLst>
          </p:cNvPr>
          <p:cNvPicPr>
            <a:picLocks noChangeAspect="1"/>
          </p:cNvPicPr>
          <p:nvPr/>
        </p:nvPicPr>
        <p:blipFill>
          <a:blip r:embed="rId4"/>
          <a:stretch>
            <a:fillRect/>
          </a:stretch>
        </p:blipFill>
        <p:spPr>
          <a:xfrm>
            <a:off x="8469299" y="1180403"/>
            <a:ext cx="2983791" cy="5677597"/>
          </a:xfrm>
          <a:prstGeom prst="rect">
            <a:avLst/>
          </a:prstGeom>
        </p:spPr>
      </p:pic>
    </p:spTree>
    <p:extLst>
      <p:ext uri="{BB962C8B-B14F-4D97-AF65-F5344CB8AC3E}">
        <p14:creationId xmlns:p14="http://schemas.microsoft.com/office/powerpoint/2010/main" val="333494303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11018838" cy="5084469"/>
          </a:xfrm>
        </p:spPr>
        <p:txBody>
          <a:bodyPr/>
          <a:lstStyle/>
          <a:p>
            <a:r>
              <a:rPr lang="en-US"/>
              <a:t>Microsoft Entra includes </a:t>
            </a:r>
            <a:r>
              <a:rPr lang="en-US">
                <a:hlinkClick r:id="rId3"/>
              </a:rPr>
              <a:t>built-in reports</a:t>
            </a:r>
            <a:r>
              <a:rPr lang="en-US"/>
              <a:t>, as well as workbooks that surface in Azure Monitor based on audit, sign-in, and provisioning log data. </a:t>
            </a:r>
          </a:p>
          <a:p>
            <a:r>
              <a:rPr lang="en-US">
                <a:highlight>
                  <a:srgbClr val="FFFFFF"/>
                </a:highlight>
                <a:latin typeface="Segoe UI" panose="020B0502040204020203" pitchFamily="34" charset="0"/>
                <a:hlinkClick r:id="rId4"/>
              </a:rPr>
              <a:t>U</a:t>
            </a:r>
            <a:r>
              <a:rPr lang="en-US" b="0" i="0" u="none" strike="noStrike">
                <a:effectLst/>
                <a:highlight>
                  <a:srgbClr val="FFFFFF"/>
                </a:highlight>
                <a:latin typeface="Segoe UI" panose="020B0502040204020203" pitchFamily="34" charset="0"/>
                <a:hlinkClick r:id="rId4"/>
              </a:rPr>
              <a:t>sage and insights reports</a:t>
            </a:r>
            <a:r>
              <a:rPr lang="en-US" b="0" i="0">
                <a:solidFill>
                  <a:srgbClr val="161616"/>
                </a:solidFill>
                <a:effectLst/>
                <a:highlight>
                  <a:srgbClr val="FFFFFF"/>
                </a:highlight>
                <a:latin typeface="Segoe UI" panose="020B0502040204020203" pitchFamily="34" charset="0"/>
              </a:rPr>
              <a:t> for an application-centric view on sign-in data. </a:t>
            </a:r>
          </a:p>
          <a:p>
            <a:r>
              <a:rPr lang="en-US" b="0" i="0" u="none" strike="noStrike">
                <a:effectLst/>
                <a:highlight>
                  <a:srgbClr val="FFFFFF"/>
                </a:highlight>
                <a:latin typeface="Segoe UI" panose="020B0502040204020203" pitchFamily="34" charset="0"/>
                <a:hlinkClick r:id="rId5"/>
              </a:rPr>
              <a:t>Monitor for unusual account creation and deletion, and unusual account usage</a:t>
            </a:r>
            <a:r>
              <a:rPr lang="en-US" b="0" i="0">
                <a:solidFill>
                  <a:srgbClr val="161616"/>
                </a:solidFill>
                <a:effectLst/>
                <a:highlight>
                  <a:srgbClr val="FFFFFF"/>
                </a:highlight>
                <a:latin typeface="Segoe UI" panose="020B0502040204020203" pitchFamily="34" charset="0"/>
              </a:rPr>
              <a:t>.</a:t>
            </a:r>
          </a:p>
          <a:p>
            <a:r>
              <a:rPr lang="en-US" b="0" i="0">
                <a:solidFill>
                  <a:srgbClr val="161616"/>
                </a:solidFill>
                <a:effectLst/>
                <a:highlight>
                  <a:srgbClr val="FFFFFF"/>
                </a:highlight>
                <a:latin typeface="Segoe UI" panose="020B0502040204020203" pitchFamily="34" charset="0"/>
              </a:rPr>
              <a:t>Query Microsoft Graph to obtain data for use in a report. For example, you can </a:t>
            </a:r>
            <a:r>
              <a:rPr lang="en-US" b="0" i="0" u="none" strike="noStrike">
                <a:effectLst/>
                <a:highlight>
                  <a:srgbClr val="FFFFFF"/>
                </a:highlight>
                <a:latin typeface="Segoe UI" panose="020B0502040204020203" pitchFamily="34" charset="0"/>
                <a:hlinkClick r:id="rId6"/>
              </a:rPr>
              <a:t>retrieve a list of inactive user accounts in Microsoft Entra ID</a:t>
            </a:r>
            <a:r>
              <a:rPr lang="en-US" b="0" i="0">
                <a:solidFill>
                  <a:srgbClr val="161616"/>
                </a:solidFill>
                <a:effectLst/>
                <a:highlight>
                  <a:srgbClr val="FFFFFF"/>
                </a:highlight>
                <a:latin typeface="Segoe UI" panose="020B0502040204020203" pitchFamily="34" charset="0"/>
              </a:rPr>
              <a:t>.</a:t>
            </a:r>
          </a:p>
          <a:p>
            <a:endParaRPr lang="en-US"/>
          </a:p>
        </p:txBody>
      </p:sp>
    </p:spTree>
    <p:extLst>
      <p:ext uri="{BB962C8B-B14F-4D97-AF65-F5344CB8AC3E}">
        <p14:creationId xmlns:p14="http://schemas.microsoft.com/office/powerpoint/2010/main" val="11539297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5897880" cy="2757678"/>
          </a:xfrm>
        </p:spPr>
        <p:txBody>
          <a:bodyPr/>
          <a:lstStyle/>
          <a:p>
            <a:r>
              <a:rPr lang="en-US" b="0" i="0">
                <a:solidFill>
                  <a:srgbClr val="161616"/>
                </a:solidFill>
                <a:effectLst/>
                <a:highlight>
                  <a:srgbClr val="FFFFFF"/>
                </a:highlight>
                <a:latin typeface="Segoe UI" panose="020B0502040204020203" pitchFamily="34" charset="0"/>
              </a:rPr>
              <a:t>Export data for SIEM, Azure Monitor or other storage solutions</a:t>
            </a:r>
          </a:p>
          <a:p>
            <a:r>
              <a:rPr lang="en-US">
                <a:hlinkClick r:id="rId3"/>
              </a:rPr>
              <a:t>Archive &amp; report with Azure Monitor - Entitlement Management Reporting</a:t>
            </a:r>
            <a:endParaRPr lang="en-US"/>
          </a:p>
          <a:p>
            <a:endParaRPr lang="en-US">
              <a:solidFill>
                <a:srgbClr val="161616"/>
              </a:solidFill>
              <a:highlight>
                <a:srgbClr val="FFFFFF"/>
              </a:highlight>
              <a:latin typeface="Segoe UI" panose="020B0502040204020203" pitchFamily="34" charset="0"/>
            </a:endParaRPr>
          </a:p>
        </p:txBody>
      </p:sp>
      <p:pic>
        <p:nvPicPr>
          <p:cNvPr id="7170" name="Picture 2" descr="Diagnostics settings pane.">
            <a:extLst>
              <a:ext uri="{FF2B5EF4-FFF2-40B4-BE49-F238E27FC236}">
                <a16:creationId xmlns:a16="http://schemas.microsoft.com/office/drawing/2014/main" id="{725BE219-3B11-3F6B-F9DA-76481AEDFC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3840" y="1435100"/>
            <a:ext cx="5390515" cy="5404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33219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11018838" cy="4653582"/>
          </a:xfrm>
        </p:spPr>
        <p:txBody>
          <a:bodyPr/>
          <a:lstStyle/>
          <a:p>
            <a:r>
              <a:rPr lang="en-US" b="0" i="0">
                <a:solidFill>
                  <a:srgbClr val="161616"/>
                </a:solidFill>
                <a:effectLst/>
                <a:highlight>
                  <a:srgbClr val="FFFFFF"/>
                </a:highlight>
                <a:latin typeface="Segoe UI" panose="020B0502040204020203" pitchFamily="34" charset="0"/>
              </a:rPr>
              <a:t>You can export data from Microsoft Entra admin center for use in generating your own reports. For example, you can </a:t>
            </a:r>
            <a:r>
              <a:rPr lang="en-US" b="0" i="0" u="none" strike="noStrike">
                <a:solidFill>
                  <a:srgbClr val="161616"/>
                </a:solidFill>
                <a:effectLst/>
                <a:highlight>
                  <a:srgbClr val="FFFFFF"/>
                </a:highlight>
                <a:latin typeface="Segoe UI" panose="020B0502040204020203" pitchFamily="34" charset="0"/>
                <a:hlinkClick r:id="rId3"/>
              </a:rPr>
              <a:t>download a list of users and their attributes</a:t>
            </a:r>
            <a:r>
              <a:rPr lang="en-US" b="0" i="0">
                <a:solidFill>
                  <a:srgbClr val="161616"/>
                </a:solidFill>
                <a:effectLst/>
                <a:highlight>
                  <a:srgbClr val="FFFFFF"/>
                </a:highlight>
                <a:latin typeface="Segoe UI" panose="020B0502040204020203" pitchFamily="34" charset="0"/>
              </a:rPr>
              <a:t> or </a:t>
            </a:r>
            <a:r>
              <a:rPr lang="en-US" b="0" i="0" u="none" strike="noStrike">
                <a:solidFill>
                  <a:srgbClr val="161616"/>
                </a:solidFill>
                <a:effectLst/>
                <a:highlight>
                  <a:srgbClr val="FFFFFF"/>
                </a:highlight>
                <a:latin typeface="Segoe UI" panose="020B0502040204020203" pitchFamily="34" charset="0"/>
                <a:hlinkClick r:id="rId4"/>
              </a:rPr>
              <a:t>download logs</a:t>
            </a:r>
            <a:r>
              <a:rPr lang="en-US" b="0" i="0">
                <a:solidFill>
                  <a:srgbClr val="161616"/>
                </a:solidFill>
                <a:effectLst/>
                <a:highlight>
                  <a:srgbClr val="FFFFFF"/>
                </a:highlight>
                <a:latin typeface="Segoe UI" panose="020B0502040204020203" pitchFamily="34" charset="0"/>
              </a:rPr>
              <a:t>, including the </a:t>
            </a:r>
            <a:r>
              <a:rPr lang="en-US" b="0" i="0" u="none" strike="noStrike">
                <a:solidFill>
                  <a:srgbClr val="161616"/>
                </a:solidFill>
                <a:effectLst/>
                <a:highlight>
                  <a:srgbClr val="FFFFFF"/>
                </a:highlight>
                <a:latin typeface="Segoe UI" panose="020B0502040204020203" pitchFamily="34" charset="0"/>
                <a:hlinkClick r:id="rId5"/>
              </a:rPr>
              <a:t>provisioning logs</a:t>
            </a:r>
            <a:r>
              <a:rPr lang="en-US" b="0" i="0">
                <a:solidFill>
                  <a:srgbClr val="161616"/>
                </a:solidFill>
                <a:effectLst/>
                <a:highlight>
                  <a:srgbClr val="FFFFFF"/>
                </a:highlight>
                <a:latin typeface="Segoe UI" panose="020B0502040204020203" pitchFamily="34" charset="0"/>
              </a:rPr>
              <a:t>, from the Microsoft Entra Admin Center.</a:t>
            </a:r>
          </a:p>
          <a:p>
            <a:endParaRPr lang="en-US" b="0" i="0">
              <a:solidFill>
                <a:srgbClr val="161616"/>
              </a:solidFill>
              <a:effectLst/>
              <a:highlight>
                <a:srgbClr val="FFFFFF"/>
              </a:highlight>
              <a:latin typeface="Segoe UI" panose="020B0502040204020203" pitchFamily="34" charset="0"/>
            </a:endParaRPr>
          </a:p>
          <a:p>
            <a:r>
              <a:rPr lang="en-US" b="0" i="0">
                <a:solidFill>
                  <a:srgbClr val="161616"/>
                </a:solidFill>
                <a:effectLst/>
                <a:highlight>
                  <a:srgbClr val="FFFFFF"/>
                </a:highlight>
                <a:latin typeface="Segoe UI" panose="020B0502040204020203" pitchFamily="34" charset="0"/>
              </a:rPr>
              <a:t>You </a:t>
            </a:r>
            <a:r>
              <a:rPr lang="en-US">
                <a:solidFill>
                  <a:srgbClr val="161616"/>
                </a:solidFill>
                <a:highlight>
                  <a:srgbClr val="FFFFFF"/>
                </a:highlight>
                <a:latin typeface="Segoe UI" panose="020B0502040204020203" pitchFamily="34" charset="0"/>
              </a:rPr>
              <a:t>can create </a:t>
            </a:r>
            <a:r>
              <a:rPr lang="en-US">
                <a:solidFill>
                  <a:srgbClr val="161616"/>
                </a:solidFill>
                <a:highlight>
                  <a:srgbClr val="FFFFFF"/>
                </a:highlight>
                <a:latin typeface="Segoe UI" panose="020B0502040204020203" pitchFamily="34" charset="0"/>
                <a:hlinkClick r:id="rId6"/>
              </a:rPr>
              <a:t>custom reports </a:t>
            </a:r>
            <a:r>
              <a:rPr lang="en-US">
                <a:solidFill>
                  <a:srgbClr val="161616"/>
                </a:solidFill>
                <a:highlight>
                  <a:srgbClr val="FFFFFF"/>
                </a:highlight>
                <a:latin typeface="Segoe UI" panose="020B0502040204020203" pitchFamily="34" charset="0"/>
              </a:rPr>
              <a:t>with Azure Data Explorer, </a:t>
            </a:r>
            <a:r>
              <a:rPr lang="en-US" err="1">
                <a:solidFill>
                  <a:srgbClr val="161616"/>
                </a:solidFill>
                <a:highlight>
                  <a:srgbClr val="FFFFFF"/>
                </a:highlight>
                <a:latin typeface="Segoe UI" panose="020B0502040204020203" pitchFamily="34" charset="0"/>
              </a:rPr>
              <a:t>PowerBI</a:t>
            </a:r>
            <a:r>
              <a:rPr lang="en-US">
                <a:solidFill>
                  <a:srgbClr val="161616"/>
                </a:solidFill>
                <a:highlight>
                  <a:srgbClr val="FFFFFF"/>
                </a:highlight>
                <a:latin typeface="Segoe UI" panose="020B0502040204020203" pitchFamily="34" charset="0"/>
              </a:rPr>
              <a:t> or other tools you are familiar with. </a:t>
            </a:r>
            <a:endParaRPr lang="en-US" b="0" i="0">
              <a:solidFill>
                <a:srgbClr val="161616"/>
              </a:solidFill>
              <a:effectLst/>
              <a:highlight>
                <a:srgbClr val="FFFFFF"/>
              </a:highlight>
              <a:latin typeface="Segoe UI" panose="020B0502040204020203" pitchFamily="34" charset="0"/>
            </a:endParaRPr>
          </a:p>
          <a:p>
            <a:endParaRPr lang="en-US" b="0" i="0">
              <a:solidFill>
                <a:srgbClr val="161616"/>
              </a:solidFill>
              <a:effectLst/>
              <a:highlight>
                <a:srgbClr val="FFFFFF"/>
              </a:highlight>
              <a:latin typeface="Segoe UI" panose="020B0502040204020203" pitchFamily="34" charset="0"/>
            </a:endParaRPr>
          </a:p>
          <a:p>
            <a:r>
              <a:rPr lang="en-US" b="0" i="0">
                <a:solidFill>
                  <a:srgbClr val="161616"/>
                </a:solidFill>
                <a:effectLst/>
                <a:highlight>
                  <a:srgbClr val="FFFFFF"/>
                </a:highlight>
                <a:latin typeface="Segoe UI" panose="020B0502040204020203" pitchFamily="34" charset="0"/>
              </a:rPr>
              <a:t>You can use the PowerShell cmdlets atop Microsoft Graph APIs to export and restructure content suitable for reporting.</a:t>
            </a:r>
          </a:p>
        </p:txBody>
      </p:sp>
    </p:spTree>
    <p:extLst>
      <p:ext uri="{BB962C8B-B14F-4D97-AF65-F5344CB8AC3E}">
        <p14:creationId xmlns:p14="http://schemas.microsoft.com/office/powerpoint/2010/main" val="20612774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F202D-4078-0734-8B90-14329ADFEDEA}"/>
              </a:ext>
            </a:extLst>
          </p:cNvPr>
          <p:cNvSpPr>
            <a:spLocks noGrp="1"/>
          </p:cNvSpPr>
          <p:nvPr>
            <p:ph type="title"/>
          </p:nvPr>
        </p:nvSpPr>
        <p:spPr>
          <a:xfrm>
            <a:off x="588263" y="457200"/>
            <a:ext cx="11018520" cy="553998"/>
          </a:xfrm>
        </p:spPr>
        <p:txBody>
          <a:bodyPr/>
          <a:lstStyle/>
          <a:p>
            <a:r>
              <a:rPr lang="en-US"/>
              <a:t>Extend Microsoft Entra through integration interfaces</a:t>
            </a:r>
          </a:p>
        </p:txBody>
      </p:sp>
      <p:sp>
        <p:nvSpPr>
          <p:cNvPr id="3" name="Content Placeholder 2">
            <a:extLst>
              <a:ext uri="{FF2B5EF4-FFF2-40B4-BE49-F238E27FC236}">
                <a16:creationId xmlns:a16="http://schemas.microsoft.com/office/drawing/2014/main" id="{148E9A0B-07C9-50DC-D39A-3588B483870B}"/>
              </a:ext>
            </a:extLst>
          </p:cNvPr>
          <p:cNvSpPr>
            <a:spLocks noGrp="1"/>
          </p:cNvSpPr>
          <p:nvPr>
            <p:ph sz="quarter" idx="10"/>
          </p:nvPr>
        </p:nvSpPr>
        <p:spPr>
          <a:xfrm>
            <a:off x="584200" y="1435100"/>
            <a:ext cx="11018838" cy="4998291"/>
          </a:xfrm>
        </p:spPr>
        <p:txBody>
          <a:bodyPr/>
          <a:lstStyle/>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pplications can call Microsoft Entra via the </a:t>
            </a:r>
            <a:r>
              <a:rPr lang="en-US" b="0" i="0" u="none" strike="noStrike">
                <a:solidFill>
                  <a:srgbClr val="161616"/>
                </a:solidFill>
                <a:effectLst/>
                <a:highlight>
                  <a:srgbClr val="FFFFFF"/>
                </a:highlight>
                <a:latin typeface="Segoe UI" panose="020B0502040204020203" pitchFamily="34" charset="0"/>
                <a:hlinkClick r:id="rId3"/>
              </a:rPr>
              <a:t>Microsoft Graph API</a:t>
            </a:r>
            <a:r>
              <a:rPr lang="en-US" b="0" i="0">
                <a:solidFill>
                  <a:srgbClr val="161616"/>
                </a:solidFill>
                <a:effectLst/>
                <a:highlight>
                  <a:srgbClr val="FFFFFF"/>
                </a:highlight>
                <a:latin typeface="Segoe UI" panose="020B0502040204020203" pitchFamily="34" charset="0"/>
              </a:rPr>
              <a:t> to query and update identity information, configuration and policies, and retrieve logs, status, and reports.</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dministrators in a tenant with Microsoft Entra ID Governance can also configure calls to custom Azure Logic Apps from </a:t>
            </a:r>
            <a:r>
              <a:rPr lang="en-US" b="0" i="0" u="none" strike="noStrike">
                <a:solidFill>
                  <a:srgbClr val="161616"/>
                </a:solidFill>
                <a:effectLst/>
                <a:highlight>
                  <a:srgbClr val="FFFFFF"/>
                </a:highlight>
                <a:latin typeface="Segoe UI" panose="020B0502040204020203" pitchFamily="34" charset="0"/>
                <a:hlinkClick r:id="rId4"/>
              </a:rPr>
              <a:t>entitlement management</a:t>
            </a:r>
            <a:r>
              <a:rPr lang="en-US" b="0" i="0">
                <a:solidFill>
                  <a:srgbClr val="161616"/>
                </a:solidFill>
                <a:effectLst/>
                <a:highlight>
                  <a:srgbClr val="FFFFFF"/>
                </a:highlight>
                <a:latin typeface="Segoe UI" panose="020B0502040204020203" pitchFamily="34" charset="0"/>
              </a:rPr>
              <a:t> and </a:t>
            </a:r>
            <a:r>
              <a:rPr lang="en-US" b="0" i="0" u="none" strike="noStrike">
                <a:solidFill>
                  <a:srgbClr val="161616"/>
                </a:solidFill>
                <a:effectLst/>
                <a:highlight>
                  <a:srgbClr val="FFFFFF"/>
                </a:highlight>
                <a:latin typeface="Segoe UI" panose="020B0502040204020203" pitchFamily="34" charset="0"/>
                <a:hlinkClick r:id="rId5"/>
              </a:rPr>
              <a:t>lifecycle workflows</a:t>
            </a:r>
            <a:r>
              <a:rPr lang="en-US" b="0" i="0">
                <a:solidFill>
                  <a:srgbClr val="161616"/>
                </a:solidFill>
                <a:effectLst/>
                <a:highlight>
                  <a:srgbClr val="FFFFFF"/>
                </a:highlight>
                <a:latin typeface="Segoe UI" panose="020B0502040204020203" pitchFamily="34" charset="0"/>
              </a:rPr>
              <a:t>. These allow customization of the user onboarding, offboarding, and access request and assignment processes.</a:t>
            </a:r>
          </a:p>
          <a:p>
            <a:pPr algn="l">
              <a:buFont typeface="Arial" panose="020B0604020202020204" pitchFamily="34" charset="0"/>
              <a:buChar char="•"/>
            </a:pPr>
            <a:r>
              <a:rPr lang="en-US">
                <a:hlinkClick r:id="rId6"/>
              </a:rPr>
              <a:t>Custom connectors are available via Services and integration partners</a:t>
            </a:r>
            <a:endParaRPr lang="en-US" b="0" i="0">
              <a:solidFill>
                <a:srgbClr val="161616"/>
              </a:solidFill>
              <a:effectLst/>
              <a:highlight>
                <a:srgbClr val="FFFFFF"/>
              </a:highlight>
              <a:latin typeface="Segoe UI" panose="020B0502040204020203" pitchFamily="34" charset="0"/>
            </a:endParaRPr>
          </a:p>
          <a:p>
            <a:endParaRPr lang="en-US"/>
          </a:p>
        </p:txBody>
      </p:sp>
    </p:spTree>
    <p:extLst>
      <p:ext uri="{BB962C8B-B14F-4D97-AF65-F5344CB8AC3E}">
        <p14:creationId xmlns:p14="http://schemas.microsoft.com/office/powerpoint/2010/main" val="23590680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3E9E50A-452B-96FE-3CC1-53EBAFAAA4A2}"/>
              </a:ext>
            </a:extLst>
          </p:cNvPr>
          <p:cNvSpPr>
            <a:spLocks noGrp="1"/>
          </p:cNvSpPr>
          <p:nvPr>
            <p:ph type="title"/>
          </p:nvPr>
        </p:nvSpPr>
        <p:spPr/>
        <p:txBody>
          <a:bodyPr/>
          <a:lstStyle/>
          <a:p>
            <a:r>
              <a:rPr lang="en-US"/>
              <a:t>Recommended SAP IDM Migration Roadmap</a:t>
            </a:r>
          </a:p>
        </p:txBody>
      </p:sp>
      <p:graphicFrame>
        <p:nvGraphicFramePr>
          <p:cNvPr id="3" name="Content Placeholder 1">
            <a:extLst>
              <a:ext uri="{FF2B5EF4-FFF2-40B4-BE49-F238E27FC236}">
                <a16:creationId xmlns:a16="http://schemas.microsoft.com/office/drawing/2014/main" id="{8D64EB50-22D8-E878-9E7C-3A713DDF9EE4}"/>
              </a:ext>
            </a:extLst>
          </p:cNvPr>
          <p:cNvGraphicFramePr>
            <a:graphicFrameLocks/>
          </p:cNvGraphicFramePr>
          <p:nvPr>
            <p:extLst>
              <p:ext uri="{D42A27DB-BD31-4B8C-83A1-F6EECF244321}">
                <p14:modId xmlns:p14="http://schemas.microsoft.com/office/powerpoint/2010/main" val="1106925339"/>
              </p:ext>
            </p:extLst>
          </p:nvPr>
        </p:nvGraphicFramePr>
        <p:xfrm>
          <a:off x="584200" y="3815134"/>
          <a:ext cx="11018838" cy="25726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ontent Placeholder 1">
            <a:extLst>
              <a:ext uri="{FF2B5EF4-FFF2-40B4-BE49-F238E27FC236}">
                <a16:creationId xmlns:a16="http://schemas.microsoft.com/office/drawing/2014/main" id="{EEC9FA1B-6E1D-1224-D02D-8F1FCF829DC0}"/>
              </a:ext>
            </a:extLst>
          </p:cNvPr>
          <p:cNvGraphicFramePr>
            <a:graphicFrameLocks/>
          </p:cNvGraphicFramePr>
          <p:nvPr>
            <p:extLst>
              <p:ext uri="{D42A27DB-BD31-4B8C-83A1-F6EECF244321}">
                <p14:modId xmlns:p14="http://schemas.microsoft.com/office/powerpoint/2010/main" val="3786550445"/>
              </p:ext>
            </p:extLst>
          </p:nvPr>
        </p:nvGraphicFramePr>
        <p:xfrm>
          <a:off x="584200" y="1126818"/>
          <a:ext cx="11018838" cy="25726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7" name="Connector: Elbow 6">
            <a:extLst>
              <a:ext uri="{FF2B5EF4-FFF2-40B4-BE49-F238E27FC236}">
                <a16:creationId xmlns:a16="http://schemas.microsoft.com/office/drawing/2014/main" id="{F095183A-AFEA-DDB9-7418-33ED55408DEA}"/>
              </a:ext>
            </a:extLst>
          </p:cNvPr>
          <p:cNvCxnSpPr>
            <a:cxnSpLocks/>
            <a:stCxn id="6" idx="3"/>
            <a:endCxn id="3" idx="1"/>
          </p:cNvCxnSpPr>
          <p:nvPr/>
        </p:nvCxnSpPr>
        <p:spPr>
          <a:xfrm flipH="1">
            <a:off x="584200" y="2413166"/>
            <a:ext cx="11018838" cy="2688316"/>
          </a:xfrm>
          <a:prstGeom prst="bentConnector5">
            <a:avLst>
              <a:gd name="adj1" fmla="val -3311"/>
              <a:gd name="adj2" fmla="val 50000"/>
              <a:gd name="adj3" fmla="val 103576"/>
            </a:avLst>
          </a:prstGeom>
          <a:ln w="76200">
            <a:solidFill>
              <a:srgbClr val="AABEE6"/>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1195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3E9E50A-452B-96FE-3CC1-53EBAFAAA4A2}"/>
              </a:ext>
            </a:extLst>
          </p:cNvPr>
          <p:cNvSpPr>
            <a:spLocks noGrp="1"/>
          </p:cNvSpPr>
          <p:nvPr>
            <p:ph type="title"/>
          </p:nvPr>
        </p:nvSpPr>
        <p:spPr/>
        <p:txBody>
          <a:bodyPr/>
          <a:lstStyle/>
          <a:p>
            <a:r>
              <a:rPr lang="en-US"/>
              <a:t>SAP IDM Migration Path</a:t>
            </a:r>
          </a:p>
        </p:txBody>
      </p:sp>
      <p:graphicFrame>
        <p:nvGraphicFramePr>
          <p:cNvPr id="2" name="Content Placeholder 1">
            <a:extLst>
              <a:ext uri="{FF2B5EF4-FFF2-40B4-BE49-F238E27FC236}">
                <a16:creationId xmlns:a16="http://schemas.microsoft.com/office/drawing/2014/main" id="{FC1C1CD6-9E18-3842-F0E1-BA16119F461E}"/>
              </a:ext>
            </a:extLst>
          </p:cNvPr>
          <p:cNvGraphicFramePr>
            <a:graphicFrameLocks noGrp="1"/>
          </p:cNvGraphicFramePr>
          <p:nvPr>
            <p:ph sz="quarter" idx="10"/>
            <p:extLst>
              <p:ext uri="{D42A27DB-BD31-4B8C-83A1-F6EECF244321}">
                <p14:modId xmlns:p14="http://schemas.microsoft.com/office/powerpoint/2010/main" val="516706196"/>
              </p:ext>
            </p:extLst>
          </p:nvPr>
        </p:nvGraphicFramePr>
        <p:xfrm>
          <a:off x="584518" y="1259610"/>
          <a:ext cx="11018838" cy="2665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Content Placeholder 1">
            <a:extLst>
              <a:ext uri="{FF2B5EF4-FFF2-40B4-BE49-F238E27FC236}">
                <a16:creationId xmlns:a16="http://schemas.microsoft.com/office/drawing/2014/main" id="{BDF79D30-796B-5600-E493-B5CAF4B316F6}"/>
              </a:ext>
            </a:extLst>
          </p:cNvPr>
          <p:cNvGraphicFramePr>
            <a:graphicFrameLocks/>
          </p:cNvGraphicFramePr>
          <p:nvPr>
            <p:extLst>
              <p:ext uri="{D42A27DB-BD31-4B8C-83A1-F6EECF244321}">
                <p14:modId xmlns:p14="http://schemas.microsoft.com/office/powerpoint/2010/main" val="2224068452"/>
              </p:ext>
            </p:extLst>
          </p:nvPr>
        </p:nvGraphicFramePr>
        <p:xfrm>
          <a:off x="584518" y="4001654"/>
          <a:ext cx="11018838" cy="266584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5" name="Connector: Elbow 4">
            <a:extLst>
              <a:ext uri="{FF2B5EF4-FFF2-40B4-BE49-F238E27FC236}">
                <a16:creationId xmlns:a16="http://schemas.microsoft.com/office/drawing/2014/main" id="{DCB47C8D-27E4-F848-FBA4-F32C949BE097}"/>
              </a:ext>
            </a:extLst>
          </p:cNvPr>
          <p:cNvCxnSpPr>
            <a:cxnSpLocks/>
            <a:stCxn id="2" idx="3"/>
            <a:endCxn id="3" idx="1"/>
          </p:cNvCxnSpPr>
          <p:nvPr/>
        </p:nvCxnSpPr>
        <p:spPr>
          <a:xfrm flipH="1">
            <a:off x="584518" y="2592533"/>
            <a:ext cx="11018838" cy="2742044"/>
          </a:xfrm>
          <a:prstGeom prst="bentConnector5">
            <a:avLst>
              <a:gd name="adj1" fmla="val -3584"/>
              <a:gd name="adj2" fmla="val 50000"/>
              <a:gd name="adj3" fmla="val 104003"/>
            </a:avLst>
          </a:prstGeom>
          <a:ln w="76200">
            <a:solidFill>
              <a:srgbClr val="AABEE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A1935ED-DD7C-8B3C-650E-B507C2BB989E}"/>
              </a:ext>
            </a:extLst>
          </p:cNvPr>
          <p:cNvSpPr txBox="1"/>
          <p:nvPr/>
        </p:nvSpPr>
        <p:spPr>
          <a:xfrm>
            <a:off x="584518" y="6379752"/>
            <a:ext cx="11018519" cy="363946"/>
          </a:xfrm>
          <a:prstGeom prst="rect">
            <a:avLst/>
          </a:prstGeom>
          <a:noFill/>
        </p:spPr>
        <p:txBody>
          <a:bodyPr wrap="square">
            <a:spAutoFit/>
          </a:bodyPr>
          <a:lstStyle/>
          <a:p>
            <a:r>
              <a:rPr lang="en-US">
                <a:hlinkClick r:id="rId12"/>
              </a:rPr>
              <a:t>Migrate identity management scenarios from SAP IDM to Microsoft Entra</a:t>
            </a:r>
            <a:endParaRPr lang="en-US"/>
          </a:p>
        </p:txBody>
      </p:sp>
    </p:spTree>
    <p:extLst>
      <p:ext uri="{BB962C8B-B14F-4D97-AF65-F5344CB8AC3E}">
        <p14:creationId xmlns:p14="http://schemas.microsoft.com/office/powerpoint/2010/main" val="250282052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5DA11E-5D24-4BCB-C732-405C13523873}"/>
              </a:ext>
            </a:extLst>
          </p:cNvPr>
          <p:cNvSpPr>
            <a:spLocks noGrp="1"/>
          </p:cNvSpPr>
          <p:nvPr>
            <p:ph type="title"/>
          </p:nvPr>
        </p:nvSpPr>
        <p:spPr>
          <a:xfrm>
            <a:off x="588265" y="3041096"/>
            <a:ext cx="4167887" cy="492443"/>
          </a:xfrm>
        </p:spPr>
        <p:txBody>
          <a:bodyPr/>
          <a:lstStyle/>
          <a:p>
            <a:r>
              <a:rPr lang="pt-BR" err="1"/>
              <a:t>Reference</a:t>
            </a:r>
            <a:r>
              <a:rPr lang="pt-BR"/>
              <a:t> </a:t>
            </a:r>
            <a:r>
              <a:rPr lang="pt-BR" err="1"/>
              <a:t>Architecture</a:t>
            </a:r>
            <a:endParaRPr lang="en-US"/>
          </a:p>
        </p:txBody>
      </p:sp>
      <p:sp>
        <p:nvSpPr>
          <p:cNvPr id="5" name="Text Placeholder 4">
            <a:extLst>
              <a:ext uri="{FF2B5EF4-FFF2-40B4-BE49-F238E27FC236}">
                <a16:creationId xmlns:a16="http://schemas.microsoft.com/office/drawing/2014/main" id="{4E382CAD-9D5E-E36B-B3B3-CF9CE4F257B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3551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BB820-14D6-4255-4655-2BABF5FA55DE}"/>
              </a:ext>
            </a:extLst>
          </p:cNvPr>
          <p:cNvSpPr>
            <a:spLocks noGrp="1"/>
          </p:cNvSpPr>
          <p:nvPr>
            <p:ph type="title"/>
          </p:nvPr>
        </p:nvSpPr>
        <p:spPr/>
        <p:txBody>
          <a:bodyPr/>
          <a:lstStyle/>
          <a:p>
            <a:r>
              <a:rPr lang="en-US"/>
              <a:t>Microsoft Entra + SAP IAG Reference Architecture</a:t>
            </a:r>
          </a:p>
        </p:txBody>
      </p:sp>
      <p:pic>
        <p:nvPicPr>
          <p:cNvPr id="7" name="Picture 6" descr="A diagram of a cloud identity service&#10;&#10;Description automatically generated">
            <a:extLst>
              <a:ext uri="{FF2B5EF4-FFF2-40B4-BE49-F238E27FC236}">
                <a16:creationId xmlns:a16="http://schemas.microsoft.com/office/drawing/2014/main" id="{D564A84C-60E3-1AA4-4948-ADFEBEDC6A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7704" y="1426566"/>
            <a:ext cx="8716591" cy="5268060"/>
          </a:xfrm>
          <a:prstGeom prst="rect">
            <a:avLst/>
          </a:prstGeom>
        </p:spPr>
      </p:pic>
    </p:spTree>
    <p:extLst>
      <p:ext uri="{BB962C8B-B14F-4D97-AF65-F5344CB8AC3E}">
        <p14:creationId xmlns:p14="http://schemas.microsoft.com/office/powerpoint/2010/main" val="35064641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A4556-337C-AF0E-759C-612EE99C4BA5}"/>
              </a:ext>
            </a:extLst>
          </p:cNvPr>
          <p:cNvSpPr>
            <a:spLocks noGrp="1"/>
          </p:cNvSpPr>
          <p:nvPr>
            <p:ph type="title"/>
          </p:nvPr>
        </p:nvSpPr>
        <p:spPr/>
        <p:txBody>
          <a:bodyPr/>
          <a:lstStyle/>
          <a:p>
            <a:r>
              <a:rPr lang="en-US"/>
              <a:t>Go Do’s</a:t>
            </a:r>
          </a:p>
        </p:txBody>
      </p:sp>
      <p:sp>
        <p:nvSpPr>
          <p:cNvPr id="3" name="Content Placeholder 2">
            <a:extLst>
              <a:ext uri="{FF2B5EF4-FFF2-40B4-BE49-F238E27FC236}">
                <a16:creationId xmlns:a16="http://schemas.microsoft.com/office/drawing/2014/main" id="{1806258E-6C78-C89E-693B-93525B795E3A}"/>
              </a:ext>
            </a:extLst>
          </p:cNvPr>
          <p:cNvSpPr>
            <a:spLocks noGrp="1"/>
          </p:cNvSpPr>
          <p:nvPr>
            <p:ph sz="quarter" idx="10"/>
          </p:nvPr>
        </p:nvSpPr>
        <p:spPr>
          <a:xfrm>
            <a:off x="584201" y="1435100"/>
            <a:ext cx="11018839" cy="5343001"/>
          </a:xfrm>
        </p:spPr>
        <p:txBody>
          <a:bodyPr vert="horz" wrap="square" lIns="0" tIns="0" rIns="0" bIns="0" rtlCol="0" anchor="t">
            <a:spAutoFit/>
          </a:bodyPr>
          <a:lstStyle/>
          <a:p>
            <a:pPr marL="227965" indent="-227965"/>
            <a:r>
              <a:rPr lang="en-US" dirty="0">
                <a:cs typeface="Segoe UI"/>
              </a:rPr>
              <a:t>Review our </a:t>
            </a:r>
            <a:r>
              <a:rPr lang="en-US" dirty="0">
                <a:cs typeface="Segoe UI"/>
                <a:hlinkClick r:id="rId2"/>
              </a:rPr>
              <a:t>Microsoft Entra ID Governance Training Content</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Review our SAP IDM Migration </a:t>
            </a:r>
            <a:r>
              <a:rPr lang="en-US" dirty="0">
                <a:cs typeface="Segoe UI"/>
                <a:hlinkClick r:id="rId3"/>
              </a:rPr>
              <a:t>guide</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Review our videos tutorials for </a:t>
            </a:r>
            <a:r>
              <a:rPr lang="en-US" dirty="0">
                <a:cs typeface="Segoe UI"/>
                <a:hlinkClick r:id="rId4"/>
              </a:rPr>
              <a:t>SSO</a:t>
            </a:r>
            <a:r>
              <a:rPr lang="en-US" dirty="0">
                <a:cs typeface="Segoe UI"/>
              </a:rPr>
              <a:t>, </a:t>
            </a:r>
            <a:r>
              <a:rPr lang="en-US" dirty="0">
                <a:cs typeface="Segoe UI"/>
                <a:hlinkClick r:id="rId5"/>
              </a:rPr>
              <a:t>Provisioning</a:t>
            </a:r>
            <a:r>
              <a:rPr lang="en-US" dirty="0">
                <a:cs typeface="Segoe UI"/>
              </a:rPr>
              <a:t>, and </a:t>
            </a:r>
            <a:r>
              <a:rPr lang="en-US" dirty="0">
                <a:cs typeface="Segoe UI"/>
                <a:hlinkClick r:id="rId6"/>
              </a:rPr>
              <a:t>Access Management</a:t>
            </a:r>
            <a:r>
              <a:rPr lang="en-US" dirty="0">
                <a:cs typeface="Segoe UI"/>
              </a:rPr>
              <a:t> with SAP Cloud Identity Services</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Save our SAP repository and stay tunned for future updates: </a:t>
            </a:r>
            <a:r>
              <a:rPr lang="en-US" dirty="0">
                <a:cs typeface="Segoe UI"/>
                <a:hlinkClick r:id="rId7"/>
              </a:rPr>
              <a:t>https://aka.ms/EntraSAPScenarios</a:t>
            </a:r>
            <a:endParaRPr lang="en-US" dirty="0">
              <a:cs typeface="Segoe UI"/>
            </a:endParaRPr>
          </a:p>
          <a:p>
            <a:pPr marL="227965" indent="-227965"/>
            <a:r>
              <a:rPr lang="en-US" dirty="0">
                <a:cs typeface="Segoe UI"/>
              </a:rPr>
              <a:t>For automation, refer to our </a:t>
            </a:r>
            <a:r>
              <a:rPr lang="en-US" dirty="0">
                <a:cs typeface="Segoe UI"/>
                <a:hlinkClick r:id="rId8"/>
              </a:rPr>
              <a:t>Microsoft Graph PowerShell</a:t>
            </a:r>
            <a:r>
              <a:rPr lang="en-US" dirty="0">
                <a:cs typeface="Segoe UI"/>
              </a:rPr>
              <a:t>, </a:t>
            </a:r>
            <a:r>
              <a:rPr lang="en-US" dirty="0">
                <a:cs typeface="Segoe UI"/>
                <a:hlinkClick r:id="rId9"/>
              </a:rPr>
              <a:t>Microsoft Entra PowerShell</a:t>
            </a:r>
            <a:r>
              <a:rPr lang="en-US" dirty="0">
                <a:cs typeface="Segoe UI"/>
              </a:rPr>
              <a:t> or </a:t>
            </a:r>
            <a:r>
              <a:rPr lang="en-US" dirty="0">
                <a:cs typeface="Segoe UI"/>
                <a:hlinkClick r:id="rId10"/>
              </a:rPr>
              <a:t>Microsoft Graph API </a:t>
            </a:r>
            <a:r>
              <a:rPr lang="en-US" dirty="0">
                <a:cs typeface="Segoe UI"/>
              </a:rPr>
              <a:t>documentation.</a:t>
            </a:r>
            <a:endParaRPr lang="en-US" dirty="0">
              <a:gradFill>
                <a:gsLst>
                  <a:gs pos="0">
                    <a:srgbClr val="000000"/>
                  </a:gs>
                  <a:gs pos="100000">
                    <a:srgbClr val="000000"/>
                  </a:gs>
                </a:gsLst>
                <a:lin ang="5400000" scaled="1"/>
              </a:gradFill>
              <a:cs typeface="Segoe UI"/>
            </a:endParaRPr>
          </a:p>
          <a:p>
            <a:pPr marL="227965" indent="-227965"/>
            <a:endParaRPr lang="en-US" dirty="0">
              <a:gradFill>
                <a:gsLst>
                  <a:gs pos="0">
                    <a:srgbClr val="000000"/>
                  </a:gs>
                  <a:gs pos="100000">
                    <a:srgbClr val="000000"/>
                  </a:gs>
                </a:gsLst>
                <a:lin ang="5400000" scaled="1"/>
              </a:gradFill>
            </a:endParaRPr>
          </a:p>
          <a:p>
            <a:pPr marL="227965" indent="-227965"/>
            <a:endParaRPr lang="en-US" dirty="0">
              <a:gradFill>
                <a:gsLst>
                  <a:gs pos="0">
                    <a:srgbClr val="000000"/>
                  </a:gs>
                  <a:gs pos="100000">
                    <a:srgbClr val="000000"/>
                  </a:gs>
                </a:gsLst>
                <a:lin ang="5400000" scaled="1"/>
              </a:gradFill>
            </a:endParaRPr>
          </a:p>
          <a:p>
            <a:pPr marL="227965" indent="-227965"/>
            <a:endParaRPr lang="en-US" dirty="0">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193650840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A41EA-5BB3-3BB6-C322-A2E2C7B6D1A3}"/>
              </a:ext>
            </a:extLst>
          </p:cNvPr>
          <p:cNvSpPr>
            <a:spLocks noGrp="1"/>
          </p:cNvSpPr>
          <p:nvPr>
            <p:ph type="title"/>
          </p:nvPr>
        </p:nvSpPr>
        <p:spPr/>
        <p:txBody>
          <a:bodyPr/>
          <a:lstStyle/>
          <a:p>
            <a:r>
              <a:rPr lang="pt-BR"/>
              <a:t>Q&amp;A</a:t>
            </a:r>
            <a:endParaRPr lang="en-US"/>
          </a:p>
        </p:txBody>
      </p:sp>
    </p:spTree>
    <p:extLst>
      <p:ext uri="{BB962C8B-B14F-4D97-AF65-F5344CB8AC3E}">
        <p14:creationId xmlns:p14="http://schemas.microsoft.com/office/powerpoint/2010/main" val="327368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A41EA-5BB3-3BB6-C322-A2E2C7B6D1A3}"/>
              </a:ext>
            </a:extLst>
          </p:cNvPr>
          <p:cNvSpPr>
            <a:spLocks noGrp="1"/>
          </p:cNvSpPr>
          <p:nvPr>
            <p:ph type="title"/>
          </p:nvPr>
        </p:nvSpPr>
        <p:spPr/>
        <p:txBody>
          <a:bodyPr/>
          <a:lstStyle/>
          <a:p>
            <a:r>
              <a:rPr lang="pt-BR" err="1"/>
              <a:t>Thank</a:t>
            </a:r>
            <a:r>
              <a:rPr lang="pt-BR"/>
              <a:t> </a:t>
            </a:r>
            <a:r>
              <a:rPr lang="pt-BR" err="1"/>
              <a:t>You</a:t>
            </a:r>
            <a:endParaRPr lang="en-US"/>
          </a:p>
        </p:txBody>
      </p:sp>
    </p:spTree>
    <p:extLst>
      <p:ext uri="{BB962C8B-B14F-4D97-AF65-F5344CB8AC3E}">
        <p14:creationId xmlns:p14="http://schemas.microsoft.com/office/powerpoint/2010/main" val="343258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CCE1B6-968F-07A7-72DE-F80408DB3CCA}"/>
              </a:ext>
            </a:extLst>
          </p:cNvPr>
          <p:cNvSpPr>
            <a:spLocks noGrp="1"/>
          </p:cNvSpPr>
          <p:nvPr>
            <p:ph type="title"/>
          </p:nvPr>
        </p:nvSpPr>
        <p:spPr>
          <a:xfrm>
            <a:off x="582043" y="3041096"/>
            <a:ext cx="4167887" cy="492443"/>
          </a:xfrm>
        </p:spPr>
        <p:txBody>
          <a:bodyPr/>
          <a:lstStyle/>
          <a:p>
            <a:r>
              <a:rPr lang="en-US"/>
              <a:t>HR Provisioning</a:t>
            </a:r>
          </a:p>
        </p:txBody>
      </p:sp>
      <p:sp>
        <p:nvSpPr>
          <p:cNvPr id="4" name="Text Placeholder 3">
            <a:extLst>
              <a:ext uri="{FF2B5EF4-FFF2-40B4-BE49-F238E27FC236}">
                <a16:creationId xmlns:a16="http://schemas.microsoft.com/office/drawing/2014/main" id="{0FFADEA5-8834-86C5-D09E-E8D8D0FAACB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16835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p:txBody>
          <a:bodyPr/>
          <a:lstStyle/>
          <a:p>
            <a:r>
              <a:rPr lang="en-US">
                <a:cs typeface="Segoe UI"/>
              </a:rPr>
              <a:t>Integrate with HR Sources – SAP SuccessFactors</a:t>
            </a:r>
            <a:endParaRPr lang="en-US"/>
          </a:p>
        </p:txBody>
      </p:sp>
      <p:sp>
        <p:nvSpPr>
          <p:cNvPr id="3" name="Content Placeholder 2">
            <a:extLst>
              <a:ext uri="{FF2B5EF4-FFF2-40B4-BE49-F238E27FC236}">
                <a16:creationId xmlns:a16="http://schemas.microsoft.com/office/drawing/2014/main" id="{57452D28-86DB-776C-832A-9B971B160339}"/>
              </a:ext>
            </a:extLst>
          </p:cNvPr>
          <p:cNvSpPr>
            <a:spLocks noGrp="1"/>
          </p:cNvSpPr>
          <p:nvPr>
            <p:ph sz="quarter" idx="10"/>
          </p:nvPr>
        </p:nvSpPr>
        <p:spPr>
          <a:xfrm>
            <a:off x="584200" y="1435100"/>
            <a:ext cx="4282440" cy="3447098"/>
          </a:xfrm>
        </p:spPr>
        <p:txBody>
          <a:bodyPr/>
          <a:lstStyle/>
          <a:p>
            <a:pPr marL="0" indent="0">
              <a:buNone/>
            </a:pPr>
            <a:r>
              <a:rPr lang="en-US" b="0" i="0">
                <a:solidFill>
                  <a:srgbClr val="161616"/>
                </a:solidFill>
                <a:effectLst/>
                <a:highlight>
                  <a:srgbClr val="FFFFFF"/>
                </a:highlight>
                <a:latin typeface="Segoe UI" panose="020B0502040204020203" pitchFamily="34" charset="0"/>
              </a:rPr>
              <a:t>Organizations with SAP SuccessFactors easily </a:t>
            </a:r>
            <a:r>
              <a:rPr lang="en-US">
                <a:solidFill>
                  <a:srgbClr val="161616"/>
                </a:solidFill>
                <a:highlight>
                  <a:srgbClr val="FFFFFF"/>
                </a:highlight>
                <a:latin typeface="Segoe UI" panose="020B0502040204020203" pitchFamily="34" charset="0"/>
              </a:rPr>
              <a:t>connect </a:t>
            </a:r>
            <a:r>
              <a:rPr lang="en-US" b="0" i="0">
                <a:solidFill>
                  <a:srgbClr val="161616"/>
                </a:solidFill>
                <a:effectLst/>
                <a:highlight>
                  <a:srgbClr val="FFFFFF"/>
                </a:highlight>
                <a:latin typeface="Segoe UI" panose="020B0502040204020203" pitchFamily="34" charset="0"/>
              </a:rPr>
              <a:t>to bring identities for employees </a:t>
            </a:r>
            <a:r>
              <a:rPr lang="en-US" b="0" i="0" u="none" strike="noStrike">
                <a:effectLst/>
                <a:highlight>
                  <a:srgbClr val="FFFFFF"/>
                </a:highlight>
                <a:latin typeface="Segoe UI" panose="020B0502040204020203" pitchFamily="34" charset="0"/>
                <a:hlinkClick r:id="rId3"/>
              </a:rPr>
              <a:t>from SuccessFactors into Microsoft Entra ID</a:t>
            </a:r>
            <a:r>
              <a:rPr lang="en-US" b="0" i="0">
                <a:solidFill>
                  <a:srgbClr val="161616"/>
                </a:solidFill>
                <a:effectLst/>
                <a:highlight>
                  <a:srgbClr val="FFFFFF"/>
                </a:highlight>
                <a:latin typeface="Segoe UI" panose="020B0502040204020203" pitchFamily="34" charset="0"/>
              </a:rPr>
              <a:t> or </a:t>
            </a:r>
            <a:r>
              <a:rPr lang="en-US" b="0" i="0" u="none" strike="noStrike">
                <a:effectLst/>
                <a:highlight>
                  <a:srgbClr val="FFFFFF"/>
                </a:highlight>
                <a:latin typeface="Segoe UI" panose="020B0502040204020203" pitchFamily="34" charset="0"/>
                <a:hlinkClick r:id="rId4"/>
              </a:rPr>
              <a:t>from SuccessFactors into on-premises Active Directory</a:t>
            </a:r>
            <a:endParaRPr lang="en-US"/>
          </a:p>
        </p:txBody>
      </p:sp>
      <p:pic>
        <p:nvPicPr>
          <p:cNvPr id="3074" name="Picture 2" descr="Diagram showing Microsoft and SAP technologies relevant to bringing in data about workers to Microsoft Entra ID.">
            <a:extLst>
              <a:ext uri="{FF2B5EF4-FFF2-40B4-BE49-F238E27FC236}">
                <a16:creationId xmlns:a16="http://schemas.microsoft.com/office/drawing/2014/main" id="{4B97912B-C3C4-7E3B-B6E1-61A7ACC976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1550" y="1343025"/>
            <a:ext cx="7410450" cy="505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6826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a:xfrm>
            <a:off x="588263" y="457200"/>
            <a:ext cx="11018520" cy="1107996"/>
          </a:xfrm>
        </p:spPr>
        <p:txBody>
          <a:bodyPr/>
          <a:lstStyle/>
          <a:p>
            <a:r>
              <a:rPr lang="en-US"/>
              <a:t>Integrate with HR Sources – SAP SF + AD DS (Hybrid Identity)</a:t>
            </a:r>
          </a:p>
        </p:txBody>
      </p:sp>
      <p:pic>
        <p:nvPicPr>
          <p:cNvPr id="1026" name="Picture 2" descr="Overview">
            <a:extLst>
              <a:ext uri="{FF2B5EF4-FFF2-40B4-BE49-F238E27FC236}">
                <a16:creationId xmlns:a16="http://schemas.microsoft.com/office/drawing/2014/main" id="{2F698A85-2E9B-C61A-8A01-E82D403285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322" y="1611710"/>
            <a:ext cx="11601356" cy="5246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1947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a:xfrm>
            <a:off x="588263" y="457200"/>
            <a:ext cx="11018520" cy="1107996"/>
          </a:xfrm>
        </p:spPr>
        <p:txBody>
          <a:bodyPr/>
          <a:lstStyle/>
          <a:p>
            <a:r>
              <a:rPr lang="en-US"/>
              <a:t>Integrate with HR Sources – SAP SF + Entra ID (Cloud-only)</a:t>
            </a:r>
          </a:p>
        </p:txBody>
      </p:sp>
      <p:pic>
        <p:nvPicPr>
          <p:cNvPr id="2050" name="Picture 2" descr="Overview">
            <a:extLst>
              <a:ext uri="{FF2B5EF4-FFF2-40B4-BE49-F238E27FC236}">
                <a16:creationId xmlns:a16="http://schemas.microsoft.com/office/drawing/2014/main" id="{68AE3D15-A224-E7C8-2455-B89B5F97A5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436" y="1916813"/>
            <a:ext cx="11767127" cy="3672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0563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p:txBody>
          <a:bodyPr/>
          <a:lstStyle/>
          <a:p>
            <a:r>
              <a:rPr lang="en-US"/>
              <a:t>Integrate with SAP HCM + SF</a:t>
            </a:r>
          </a:p>
        </p:txBody>
      </p:sp>
      <p:sp>
        <p:nvSpPr>
          <p:cNvPr id="3" name="Content Placeholder 2">
            <a:extLst>
              <a:ext uri="{FF2B5EF4-FFF2-40B4-BE49-F238E27FC236}">
                <a16:creationId xmlns:a16="http://schemas.microsoft.com/office/drawing/2014/main" id="{57452D28-86DB-776C-832A-9B971B160339}"/>
              </a:ext>
            </a:extLst>
          </p:cNvPr>
          <p:cNvSpPr>
            <a:spLocks noGrp="1"/>
          </p:cNvSpPr>
          <p:nvPr>
            <p:ph sz="quarter" idx="10"/>
          </p:nvPr>
        </p:nvSpPr>
        <p:spPr>
          <a:xfrm>
            <a:off x="584200" y="1435100"/>
            <a:ext cx="11018838" cy="430887"/>
          </a:xfrm>
        </p:spPr>
        <p:txBody>
          <a:bodyPr/>
          <a:lstStyle/>
          <a:p>
            <a:pPr marL="0" indent="0">
              <a:buNone/>
            </a:pPr>
            <a:r>
              <a:rPr lang="en-US"/>
              <a:t>Customers with HCM + SF can leverage this architecture</a:t>
            </a:r>
          </a:p>
        </p:txBody>
      </p:sp>
      <p:pic>
        <p:nvPicPr>
          <p:cNvPr id="4100" name="Picture 4" descr="Diagram of SAP HR integrations.">
            <a:extLst>
              <a:ext uri="{FF2B5EF4-FFF2-40B4-BE49-F238E27FC236}">
                <a16:creationId xmlns:a16="http://schemas.microsoft.com/office/drawing/2014/main" id="{4A007903-4A90-C070-E003-7D095758A5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1" y="2168843"/>
            <a:ext cx="12192000" cy="461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9121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3.xml><?xml version="1.0" encoding="utf-8"?>
<a:theme xmlns:a="http://schemas.openxmlformats.org/drawingml/2006/main" name="4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4.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5.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2"/>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55AC1B18-20D7-4722-B3E0-550ADE99B880}" vid="{101041D1-3135-4A4E-BB8F-2F7042E62630}"/>
    </a:ext>
  </a:extLst>
</a:theme>
</file>

<file path=ppt/theme/theme7.xml><?xml version="1.0" encoding="utf-8"?>
<a:theme xmlns:a="http://schemas.openxmlformats.org/drawingml/2006/main" name="2_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grate SAP IDM to Microsoft Entra</Template>
  <TotalTime>0</TotalTime>
  <Words>2793</Words>
  <Application>Microsoft Office PowerPoint</Application>
  <PresentationFormat>Widescreen</PresentationFormat>
  <Paragraphs>359</Paragraphs>
  <Slides>44</Slides>
  <Notes>25</Notes>
  <HiddenSlides>1</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44</vt:i4>
      </vt:variant>
    </vt:vector>
  </HeadingPairs>
  <TitlesOfParts>
    <vt:vector size="64" baseType="lpstr">
      <vt:lpstr>72</vt:lpstr>
      <vt:lpstr>72 Bold</vt:lpstr>
      <vt:lpstr>72 Semibold</vt:lpstr>
      <vt:lpstr>Aptos</vt:lpstr>
      <vt:lpstr>Arial</vt:lpstr>
      <vt:lpstr>Calibri</vt:lpstr>
      <vt:lpstr>Consolas</vt:lpstr>
      <vt:lpstr>Segoe UI</vt:lpstr>
      <vt:lpstr>Segoe UI Semibold</vt:lpstr>
      <vt:lpstr>Segoe UI Semilight</vt:lpstr>
      <vt:lpstr>SegoeUIVariable</vt:lpstr>
      <vt:lpstr>Wingdings</vt:lpstr>
      <vt:lpstr>Microsoft Security template</vt:lpstr>
      <vt:lpstr>1_Microsoft Security template</vt:lpstr>
      <vt:lpstr>4_Microsoft Security template</vt:lpstr>
      <vt:lpstr>2_Microsoft Security template</vt:lpstr>
      <vt:lpstr>3_Microsoft Security template</vt:lpstr>
      <vt:lpstr>White Template</vt:lpstr>
      <vt:lpstr>2_White Template</vt:lpstr>
      <vt:lpstr>think-cell Slide</vt:lpstr>
      <vt:lpstr>Microsoft Entra + SAP Scenarios</vt:lpstr>
      <vt:lpstr>Agenda</vt:lpstr>
      <vt:lpstr>IAM &amp; SAP Modernization: A Strategic Alignment</vt:lpstr>
      <vt:lpstr>SAP IDM Migration Path</vt:lpstr>
      <vt:lpstr>HR Provisioning</vt:lpstr>
      <vt:lpstr>Integrate with HR Sources – SAP SuccessFactors</vt:lpstr>
      <vt:lpstr>Integrate with HR Sources – SAP SF + AD DS (Hybrid Identity)</vt:lpstr>
      <vt:lpstr>Integrate with HR Sources – SAP SF + Entra ID (Cloud-only)</vt:lpstr>
      <vt:lpstr>Integrate with SAP HCM + SF</vt:lpstr>
      <vt:lpstr>Use API-Driven Provisioning for Other HR Sources</vt:lpstr>
      <vt:lpstr>PowerPoint Presentation</vt:lpstr>
      <vt:lpstr>PowerPoint Presentation</vt:lpstr>
      <vt:lpstr>Lifecycle Workflows General Availability</vt:lpstr>
      <vt:lpstr>Single-Sign On (SSO)</vt:lpstr>
      <vt:lpstr>SSO with SAP Cloud Identity Services</vt:lpstr>
      <vt:lpstr>SSO with SAP Cloud Identity Services</vt:lpstr>
      <vt:lpstr>Demo – SSO Config</vt:lpstr>
      <vt:lpstr>SSO with SAP ECC</vt:lpstr>
      <vt:lpstr>Migrate User Management Scenario</vt:lpstr>
      <vt:lpstr>Migrate User Management Scenario</vt:lpstr>
      <vt:lpstr>App Provisioning</vt:lpstr>
      <vt:lpstr>Provision to SAP systems</vt:lpstr>
      <vt:lpstr>Provision to SAP systems – SAP Cloud Identity Services</vt:lpstr>
      <vt:lpstr>Demo – App Provisioning</vt:lpstr>
      <vt:lpstr>Provision to SAP systems – On-Premises SAP ECC</vt:lpstr>
      <vt:lpstr>Provision to non-SAP Systems – SaaS</vt:lpstr>
      <vt:lpstr>Provision to non-SAP Systems – On-Premises</vt:lpstr>
      <vt:lpstr>Access Management </vt:lpstr>
      <vt:lpstr>Access Management via Security Groups</vt:lpstr>
      <vt:lpstr>Access Management via Security Groups</vt:lpstr>
      <vt:lpstr>Access Management via Entitlement Management</vt:lpstr>
      <vt:lpstr>Demo – Group Mapping Configuration</vt:lpstr>
      <vt:lpstr>EM + Custom Extensions (Low-Code) General Availability</vt:lpstr>
      <vt:lpstr>Access Management via Entitlement Management + external GRC product</vt:lpstr>
      <vt:lpstr>Use Microsoft Entra for reporting</vt:lpstr>
      <vt:lpstr>Use Microsoft Entra for reporting</vt:lpstr>
      <vt:lpstr>Use Microsoft Entra for reporting</vt:lpstr>
      <vt:lpstr>Extend Microsoft Entra through integration interfaces</vt:lpstr>
      <vt:lpstr>Recommended SAP IDM Migration Roadmap</vt:lpstr>
      <vt:lpstr>Reference Architecture</vt:lpstr>
      <vt:lpstr>Microsoft Entra + SAP IAG Reference Architecture</vt:lpstr>
      <vt:lpstr>Go Do’s</vt:lpstr>
      <vt:lpstr>Q&amp;A</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0-31T23:37:39Z</dcterms:created>
  <dcterms:modified xsi:type="dcterms:W3CDTF">2024-10-31T23:38:19Z</dcterms:modified>
</cp:coreProperties>
</file>